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2"/>
  </p:notesMasterIdLst>
  <p:sldIdLst>
    <p:sldId id="2147470870" r:id="rId2"/>
    <p:sldId id="2147470861" r:id="rId3"/>
    <p:sldId id="2147470871" r:id="rId4"/>
    <p:sldId id="2147470872" r:id="rId5"/>
    <p:sldId id="2147470873" r:id="rId6"/>
    <p:sldId id="16764481" r:id="rId7"/>
    <p:sldId id="2147470863" r:id="rId8"/>
    <p:sldId id="302" r:id="rId9"/>
    <p:sldId id="2147470879" r:id="rId10"/>
    <p:sldId id="2147470880" r:id="rId11"/>
    <p:sldId id="2147470877" r:id="rId12"/>
    <p:sldId id="2147470860" r:id="rId13"/>
    <p:sldId id="2147470874" r:id="rId14"/>
    <p:sldId id="2147470881" r:id="rId15"/>
    <p:sldId id="2147470864" r:id="rId16"/>
    <p:sldId id="260" r:id="rId17"/>
    <p:sldId id="2147470875" r:id="rId18"/>
    <p:sldId id="2147470869" r:id="rId19"/>
    <p:sldId id="278" r:id="rId20"/>
    <p:sldId id="2147470866" r:id="rId21"/>
    <p:sldId id="16764451" r:id="rId22"/>
    <p:sldId id="282" r:id="rId23"/>
    <p:sldId id="2147470867" r:id="rId24"/>
    <p:sldId id="2147470876" r:id="rId25"/>
    <p:sldId id="2147470882" r:id="rId26"/>
    <p:sldId id="2147470883" r:id="rId27"/>
    <p:sldId id="2147470886" r:id="rId28"/>
    <p:sldId id="2147470885" r:id="rId29"/>
    <p:sldId id="2147470887" r:id="rId30"/>
    <p:sldId id="26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DF2"/>
    <a:srgbClr val="F7F7F7"/>
    <a:srgbClr val="4E79A7"/>
    <a:srgbClr val="DC4D42"/>
    <a:srgbClr val="EF5D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A25D5E-FB76-42DE-8B2D-F3CD5663D813}" v="91" dt="2023-04-24T16:40:17.018"/>
    <p1510:client id="{A0419C13-872F-4A90-BE84-F976C2D8A278}" v="42" dt="2023-04-23T16:58:28.7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09" autoAdjust="0"/>
    <p:restoredTop sz="94660"/>
  </p:normalViewPr>
  <p:slideViewPr>
    <p:cSldViewPr snapToGrid="0">
      <p:cViewPr varScale="1">
        <p:scale>
          <a:sx n="63" d="100"/>
          <a:sy n="63" d="100"/>
        </p:scale>
        <p:origin x="8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ish Mahajan" userId="48565a57b1029db5" providerId="LiveId" clId="{7CA25D5E-FB76-42DE-8B2D-F3CD5663D813}"/>
    <pc:docChg chg="undo redo custSel addSld delSld modSld sldOrd delMainMaster modMainMaster">
      <pc:chgData name="Ashish Mahajan" userId="48565a57b1029db5" providerId="LiveId" clId="{7CA25D5E-FB76-42DE-8B2D-F3CD5663D813}" dt="2023-04-24T16:40:17.018" v="9061"/>
      <pc:docMkLst>
        <pc:docMk/>
      </pc:docMkLst>
      <pc:sldChg chg="addSp delSp modSp mod ord modClrScheme chgLayout">
        <pc:chgData name="Ashish Mahajan" userId="48565a57b1029db5" providerId="LiveId" clId="{7CA25D5E-FB76-42DE-8B2D-F3CD5663D813}" dt="2023-04-24T16:13:00.535" v="8342"/>
        <pc:sldMkLst>
          <pc:docMk/>
          <pc:sldMk cId="0" sldId="260"/>
        </pc:sldMkLst>
        <pc:spChg chg="add del mod ord">
          <ac:chgData name="Ashish Mahajan" userId="48565a57b1029db5" providerId="LiveId" clId="{7CA25D5E-FB76-42DE-8B2D-F3CD5663D813}" dt="2023-04-24T14:46:01.284" v="8121" actId="478"/>
          <ac:spMkLst>
            <pc:docMk/>
            <pc:sldMk cId="0" sldId="260"/>
            <ac:spMk id="2" creationId="{FCF15F4D-825A-7E01-897D-1D9E0C6991BC}"/>
          </ac:spMkLst>
        </pc:spChg>
        <pc:spChg chg="add del mod ord">
          <ac:chgData name="Ashish Mahajan" userId="48565a57b1029db5" providerId="LiveId" clId="{7CA25D5E-FB76-42DE-8B2D-F3CD5663D813}" dt="2023-04-24T14:45:56.809" v="8119" actId="478"/>
          <ac:spMkLst>
            <pc:docMk/>
            <pc:sldMk cId="0" sldId="260"/>
            <ac:spMk id="3" creationId="{FFE31B2A-DA30-F9AC-E060-09DE16D45BE4}"/>
          </ac:spMkLst>
        </pc:spChg>
        <pc:spChg chg="add del mod ord">
          <ac:chgData name="Ashish Mahajan" userId="48565a57b1029db5" providerId="LiveId" clId="{7CA25D5E-FB76-42DE-8B2D-F3CD5663D813}" dt="2023-04-24T14:45:52.925" v="8118" actId="478"/>
          <ac:spMkLst>
            <pc:docMk/>
            <pc:sldMk cId="0" sldId="260"/>
            <ac:spMk id="4" creationId="{D9B46FD8-C734-F0E6-4270-929A3A38CD6F}"/>
          </ac:spMkLst>
        </pc:spChg>
        <pc:spChg chg="add del mod ord">
          <ac:chgData name="Ashish Mahajan" userId="48565a57b1029db5" providerId="LiveId" clId="{7CA25D5E-FB76-42DE-8B2D-F3CD5663D813}" dt="2023-04-24T14:46:04.869" v="8122" actId="478"/>
          <ac:spMkLst>
            <pc:docMk/>
            <pc:sldMk cId="0" sldId="260"/>
            <ac:spMk id="5" creationId="{CF459713-701B-CE7A-DB2D-2E3A7CB25A80}"/>
          </ac:spMkLst>
        </pc:spChg>
        <pc:spChg chg="mod">
          <ac:chgData name="Ashish Mahajan" userId="48565a57b1029db5" providerId="LiveId" clId="{7CA25D5E-FB76-42DE-8B2D-F3CD5663D813}" dt="2023-04-24T16:12:20.550" v="8340" actId="20577"/>
          <ac:spMkLst>
            <pc:docMk/>
            <pc:sldMk cId="0" sldId="260"/>
            <ac:spMk id="144" creationId="{00000000-0000-0000-0000-000000000000}"/>
          </ac:spMkLst>
        </pc:spChg>
      </pc:sldChg>
      <pc:sldChg chg="del">
        <pc:chgData name="Ashish Mahajan" userId="48565a57b1029db5" providerId="LiveId" clId="{7CA25D5E-FB76-42DE-8B2D-F3CD5663D813}" dt="2023-04-23T18:28:42.850" v="2" actId="47"/>
        <pc:sldMkLst>
          <pc:docMk/>
          <pc:sldMk cId="0" sldId="275"/>
        </pc:sldMkLst>
      </pc:sldChg>
      <pc:sldChg chg="addSp delSp modSp mod modClrScheme chgLayout">
        <pc:chgData name="Ashish Mahajan" userId="48565a57b1029db5" providerId="LiveId" clId="{7CA25D5E-FB76-42DE-8B2D-F3CD5663D813}" dt="2023-04-24T14:48:08.864" v="8183" actId="14100"/>
        <pc:sldMkLst>
          <pc:docMk/>
          <pc:sldMk cId="0" sldId="278"/>
        </pc:sldMkLst>
        <pc:spChg chg="add del mod ord">
          <ac:chgData name="Ashish Mahajan" userId="48565a57b1029db5" providerId="LiveId" clId="{7CA25D5E-FB76-42DE-8B2D-F3CD5663D813}" dt="2023-04-24T14:47:58.750" v="8180" actId="478"/>
          <ac:spMkLst>
            <pc:docMk/>
            <pc:sldMk cId="0" sldId="278"/>
            <ac:spMk id="6" creationId="{2375729D-0875-A248-6016-0C74E693C765}"/>
          </ac:spMkLst>
        </pc:spChg>
        <pc:spChg chg="add del mod ord">
          <ac:chgData name="Ashish Mahajan" userId="48565a57b1029db5" providerId="LiveId" clId="{7CA25D5E-FB76-42DE-8B2D-F3CD5663D813}" dt="2023-04-24T14:47:54.705" v="8179" actId="478"/>
          <ac:spMkLst>
            <pc:docMk/>
            <pc:sldMk cId="0" sldId="278"/>
            <ac:spMk id="7" creationId="{68BD88CF-2D73-C4E4-1649-E63113B2B5FA}"/>
          </ac:spMkLst>
        </pc:spChg>
        <pc:spChg chg="add del mod ord">
          <ac:chgData name="Ashish Mahajan" userId="48565a57b1029db5" providerId="LiveId" clId="{7CA25D5E-FB76-42DE-8B2D-F3CD5663D813}" dt="2023-04-24T14:48:01.037" v="8181" actId="478"/>
          <ac:spMkLst>
            <pc:docMk/>
            <pc:sldMk cId="0" sldId="278"/>
            <ac:spMk id="8" creationId="{F5F87EC7-224A-1453-60DD-9A02B7D609A3}"/>
          </ac:spMkLst>
        </pc:spChg>
        <pc:spChg chg="mod ord">
          <ac:chgData name="Ashish Mahajan" userId="48565a57b1029db5" providerId="LiveId" clId="{7CA25D5E-FB76-42DE-8B2D-F3CD5663D813}" dt="2023-04-24T14:48:08.864" v="8183" actId="14100"/>
          <ac:spMkLst>
            <pc:docMk/>
            <pc:sldMk cId="0" sldId="278"/>
            <ac:spMk id="402" creationId="{00000000-0000-0000-0000-000000000000}"/>
          </ac:spMkLst>
        </pc:spChg>
        <pc:spChg chg="mod">
          <ac:chgData name="Ashish Mahajan" userId="48565a57b1029db5" providerId="LiveId" clId="{7CA25D5E-FB76-42DE-8B2D-F3CD5663D813}" dt="2023-04-24T08:50:28.197" v="3694" actId="404"/>
          <ac:spMkLst>
            <pc:docMk/>
            <pc:sldMk cId="0" sldId="278"/>
            <ac:spMk id="403" creationId="{00000000-0000-0000-0000-000000000000}"/>
          </ac:spMkLst>
        </pc:spChg>
        <pc:picChg chg="mod">
          <ac:chgData name="Ashish Mahajan" userId="48565a57b1029db5" providerId="LiveId" clId="{7CA25D5E-FB76-42DE-8B2D-F3CD5663D813}" dt="2023-04-23T18:29:30.918" v="10" actId="1036"/>
          <ac:picMkLst>
            <pc:docMk/>
            <pc:sldMk cId="0" sldId="278"/>
            <ac:picMk id="2" creationId="{1B77B550-0AA4-BF07-42FD-6E42771A176C}"/>
          </ac:picMkLst>
        </pc:picChg>
        <pc:picChg chg="add del mod">
          <ac:chgData name="Ashish Mahajan" userId="48565a57b1029db5" providerId="LiveId" clId="{7CA25D5E-FB76-42DE-8B2D-F3CD5663D813}" dt="2023-04-24T14:47:45.729" v="8176" actId="478"/>
          <ac:picMkLst>
            <pc:docMk/>
            <pc:sldMk cId="0" sldId="278"/>
            <ac:picMk id="4" creationId="{A816142B-4D5A-BF06-7061-4E9E592342E4}"/>
          </ac:picMkLst>
        </pc:picChg>
        <pc:picChg chg="mod">
          <ac:chgData name="Ashish Mahajan" userId="48565a57b1029db5" providerId="LiveId" clId="{7CA25D5E-FB76-42DE-8B2D-F3CD5663D813}" dt="2023-04-23T18:29:45.213" v="24" actId="1035"/>
          <ac:picMkLst>
            <pc:docMk/>
            <pc:sldMk cId="0" sldId="278"/>
            <ac:picMk id="5" creationId="{BD90C12F-6F4D-516E-FAD1-F0D95D1FA668}"/>
          </ac:picMkLst>
        </pc:picChg>
      </pc:sldChg>
      <pc:sldChg chg="del">
        <pc:chgData name="Ashish Mahajan" userId="48565a57b1029db5" providerId="LiveId" clId="{7CA25D5E-FB76-42DE-8B2D-F3CD5663D813}" dt="2023-04-24T14:39:21.850" v="8063" actId="47"/>
        <pc:sldMkLst>
          <pc:docMk/>
          <pc:sldMk cId="2875600140" sldId="279"/>
        </pc:sldMkLst>
      </pc:sldChg>
      <pc:sldChg chg="addSp delSp modSp mod modClrScheme chgLayout">
        <pc:chgData name="Ashish Mahajan" userId="48565a57b1029db5" providerId="LiveId" clId="{7CA25D5E-FB76-42DE-8B2D-F3CD5663D813}" dt="2023-04-24T14:50:19.660" v="8217" actId="478"/>
        <pc:sldMkLst>
          <pc:docMk/>
          <pc:sldMk cId="0" sldId="282"/>
        </pc:sldMkLst>
        <pc:spChg chg="add del mod ord">
          <ac:chgData name="Ashish Mahajan" userId="48565a57b1029db5" providerId="LiveId" clId="{7CA25D5E-FB76-42DE-8B2D-F3CD5663D813}" dt="2023-04-24T14:50:01.419" v="8211" actId="478"/>
          <ac:spMkLst>
            <pc:docMk/>
            <pc:sldMk cId="0" sldId="282"/>
            <ac:spMk id="2" creationId="{A389FD75-8F06-B751-C589-D4589C9B818D}"/>
          </ac:spMkLst>
        </pc:spChg>
        <pc:spChg chg="add del mod ord">
          <ac:chgData name="Ashish Mahajan" userId="48565a57b1029db5" providerId="LiveId" clId="{7CA25D5E-FB76-42DE-8B2D-F3CD5663D813}" dt="2023-04-24T14:50:14.958" v="8216" actId="478"/>
          <ac:spMkLst>
            <pc:docMk/>
            <pc:sldMk cId="0" sldId="282"/>
            <ac:spMk id="4" creationId="{CD3BD6E8-F78F-30A1-07DE-B9AF82A06509}"/>
          </ac:spMkLst>
        </pc:spChg>
        <pc:spChg chg="add del mod ord">
          <ac:chgData name="Ashish Mahajan" userId="48565a57b1029db5" providerId="LiveId" clId="{7CA25D5E-FB76-42DE-8B2D-F3CD5663D813}" dt="2023-04-24T14:50:19.660" v="8217" actId="478"/>
          <ac:spMkLst>
            <pc:docMk/>
            <pc:sldMk cId="0" sldId="282"/>
            <ac:spMk id="6" creationId="{50B64067-FC40-76F4-D34B-585BE11B9E0A}"/>
          </ac:spMkLst>
        </pc:spChg>
        <pc:spChg chg="mod">
          <ac:chgData name="Ashish Mahajan" userId="48565a57b1029db5" providerId="LiveId" clId="{7CA25D5E-FB76-42DE-8B2D-F3CD5663D813}" dt="2023-04-24T08:46:07.762" v="3677" actId="122"/>
          <ac:spMkLst>
            <pc:docMk/>
            <pc:sldMk cId="0" sldId="282"/>
            <ac:spMk id="433" creationId="{00000000-0000-0000-0000-000000000000}"/>
          </ac:spMkLst>
        </pc:spChg>
        <pc:spChg chg="mod">
          <ac:chgData name="Ashish Mahajan" userId="48565a57b1029db5" providerId="LiveId" clId="{7CA25D5E-FB76-42DE-8B2D-F3CD5663D813}" dt="2023-04-24T08:46:00.188" v="3675" actId="14100"/>
          <ac:spMkLst>
            <pc:docMk/>
            <pc:sldMk cId="0" sldId="282"/>
            <ac:spMk id="438" creationId="{00000000-0000-0000-0000-000000000000}"/>
          </ac:spMkLst>
        </pc:spChg>
        <pc:picChg chg="add del">
          <ac:chgData name="Ashish Mahajan" userId="48565a57b1029db5" providerId="LiveId" clId="{7CA25D5E-FB76-42DE-8B2D-F3CD5663D813}" dt="2023-04-24T14:50:08.756" v="8215" actId="478"/>
          <ac:picMkLst>
            <pc:docMk/>
            <pc:sldMk cId="0" sldId="282"/>
            <ac:picMk id="7" creationId="{FFBE2573-6AD8-4C54-B99B-2FF8DF69E8AB}"/>
          </ac:picMkLst>
        </pc:picChg>
        <pc:picChg chg="add del">
          <ac:chgData name="Ashish Mahajan" userId="48565a57b1029db5" providerId="LiveId" clId="{7CA25D5E-FB76-42DE-8B2D-F3CD5663D813}" dt="2023-04-24T14:50:06.446" v="8214" actId="478"/>
          <ac:picMkLst>
            <pc:docMk/>
            <pc:sldMk cId="0" sldId="282"/>
            <ac:picMk id="9" creationId="{4D90DEE2-B2F0-4D46-BBC4-56D1AEEE154C}"/>
          </ac:picMkLst>
        </pc:picChg>
      </pc:sldChg>
      <pc:sldChg chg="del">
        <pc:chgData name="Ashish Mahajan" userId="48565a57b1029db5" providerId="LiveId" clId="{7CA25D5E-FB76-42DE-8B2D-F3CD5663D813}" dt="2023-04-24T12:54:54.526" v="5065" actId="47"/>
        <pc:sldMkLst>
          <pc:docMk/>
          <pc:sldMk cId="904314509" sldId="289"/>
        </pc:sldMkLst>
      </pc:sldChg>
      <pc:sldChg chg="del">
        <pc:chgData name="Ashish Mahajan" userId="48565a57b1029db5" providerId="LiveId" clId="{7CA25D5E-FB76-42DE-8B2D-F3CD5663D813}" dt="2023-04-24T12:54:54.526" v="5065" actId="47"/>
        <pc:sldMkLst>
          <pc:docMk/>
          <pc:sldMk cId="4084799214" sldId="290"/>
        </pc:sldMkLst>
      </pc:sldChg>
      <pc:sldChg chg="addSp delSp modSp mod modClrScheme chgLayout">
        <pc:chgData name="Ashish Mahajan" userId="48565a57b1029db5" providerId="LiveId" clId="{7CA25D5E-FB76-42DE-8B2D-F3CD5663D813}" dt="2023-04-24T14:43:35.826" v="8090" actId="478"/>
        <pc:sldMkLst>
          <pc:docMk/>
          <pc:sldMk cId="0" sldId="302"/>
        </pc:sldMkLst>
        <pc:spChg chg="mod">
          <ac:chgData name="Ashish Mahajan" userId="48565a57b1029db5" providerId="LiveId" clId="{7CA25D5E-FB76-42DE-8B2D-F3CD5663D813}" dt="2023-04-24T08:22:46.407" v="2670" actId="20577"/>
          <ac:spMkLst>
            <pc:docMk/>
            <pc:sldMk cId="0" sldId="302"/>
            <ac:spMk id="6" creationId="{00000000-0000-0000-0000-000000000000}"/>
          </ac:spMkLst>
        </pc:spChg>
        <pc:spChg chg="mod">
          <ac:chgData name="Ashish Mahajan" userId="48565a57b1029db5" providerId="LiveId" clId="{7CA25D5E-FB76-42DE-8B2D-F3CD5663D813}" dt="2023-04-24T08:23:29.725" v="2684" actId="113"/>
          <ac:spMkLst>
            <pc:docMk/>
            <pc:sldMk cId="0" sldId="302"/>
            <ac:spMk id="7" creationId="{00000000-0000-0000-0000-000000000000}"/>
          </ac:spMkLst>
        </pc:spChg>
        <pc:spChg chg="add mod">
          <ac:chgData name="Ashish Mahajan" userId="48565a57b1029db5" providerId="LiveId" clId="{7CA25D5E-FB76-42DE-8B2D-F3CD5663D813}" dt="2023-04-24T14:43:10.480" v="8086"/>
          <ac:spMkLst>
            <pc:docMk/>
            <pc:sldMk cId="0" sldId="302"/>
            <ac:spMk id="8" creationId="{DF6B007A-CDED-4A9D-33DD-13830A1A3DFE}"/>
          </ac:spMkLst>
        </pc:spChg>
        <pc:spChg chg="add del mod ord">
          <ac:chgData name="Ashish Mahajan" userId="48565a57b1029db5" providerId="LiveId" clId="{7CA25D5E-FB76-42DE-8B2D-F3CD5663D813}" dt="2023-04-24T14:43:35.826" v="8090" actId="478"/>
          <ac:spMkLst>
            <pc:docMk/>
            <pc:sldMk cId="0" sldId="302"/>
            <ac:spMk id="9" creationId="{CC5ED8FE-B3BD-1CCD-F4C6-AD017F0DE11A}"/>
          </ac:spMkLst>
        </pc:spChg>
        <pc:spChg chg="add del mod ord">
          <ac:chgData name="Ashish Mahajan" userId="48565a57b1029db5" providerId="LiveId" clId="{7CA25D5E-FB76-42DE-8B2D-F3CD5663D813}" dt="2023-04-24T14:43:28.560" v="8088" actId="478"/>
          <ac:spMkLst>
            <pc:docMk/>
            <pc:sldMk cId="0" sldId="302"/>
            <ac:spMk id="10" creationId="{428218FB-A417-DD9D-031D-049AFE61F3EB}"/>
          </ac:spMkLst>
        </pc:spChg>
        <pc:spChg chg="add del mod ord">
          <ac:chgData name="Ashish Mahajan" userId="48565a57b1029db5" providerId="LiveId" clId="{7CA25D5E-FB76-42DE-8B2D-F3CD5663D813}" dt="2023-04-24T14:43:32.499" v="8089" actId="478"/>
          <ac:spMkLst>
            <pc:docMk/>
            <pc:sldMk cId="0" sldId="302"/>
            <ac:spMk id="13" creationId="{7971BB6E-BF08-08EF-4591-7037996FF083}"/>
          </ac:spMkLst>
        </pc:spChg>
        <pc:grpChg chg="add mod">
          <ac:chgData name="Ashish Mahajan" userId="48565a57b1029db5" providerId="LiveId" clId="{7CA25D5E-FB76-42DE-8B2D-F3CD5663D813}" dt="2023-04-24T14:43:10.480" v="8086"/>
          <ac:grpSpMkLst>
            <pc:docMk/>
            <pc:sldMk cId="0" sldId="302"/>
            <ac:grpSpMk id="2" creationId="{BB68D70F-17D2-F460-F04E-F9E63238A04A}"/>
          </ac:grpSpMkLst>
        </pc:grpChg>
        <pc:picChg chg="add mod">
          <ac:chgData name="Ashish Mahajan" userId="48565a57b1029db5" providerId="LiveId" clId="{7CA25D5E-FB76-42DE-8B2D-F3CD5663D813}" dt="2023-04-24T14:43:10.480" v="8086"/>
          <ac:picMkLst>
            <pc:docMk/>
            <pc:sldMk cId="0" sldId="302"/>
            <ac:picMk id="5" creationId="{DC206F46-284A-7AF7-7773-A8CEF5848B0E}"/>
          </ac:picMkLst>
        </pc:picChg>
        <pc:cxnChg chg="mod">
          <ac:chgData name="Ashish Mahajan" userId="48565a57b1029db5" providerId="LiveId" clId="{7CA25D5E-FB76-42DE-8B2D-F3CD5663D813}" dt="2023-04-24T14:43:10.480" v="8086"/>
          <ac:cxnSpMkLst>
            <pc:docMk/>
            <pc:sldMk cId="0" sldId="302"/>
            <ac:cxnSpMk id="3" creationId="{40190053-B364-732A-B3B5-436EEE367A9B}"/>
          </ac:cxnSpMkLst>
        </pc:cxnChg>
        <pc:cxnChg chg="mod">
          <ac:chgData name="Ashish Mahajan" userId="48565a57b1029db5" providerId="LiveId" clId="{7CA25D5E-FB76-42DE-8B2D-F3CD5663D813}" dt="2023-04-24T14:43:10.480" v="8086"/>
          <ac:cxnSpMkLst>
            <pc:docMk/>
            <pc:sldMk cId="0" sldId="302"/>
            <ac:cxnSpMk id="4" creationId="{8B6F59BF-52EA-C63F-2E8B-427E2C15888F}"/>
          </ac:cxnSpMkLst>
        </pc:cxnChg>
      </pc:sldChg>
      <pc:sldChg chg="del">
        <pc:chgData name="Ashish Mahajan" userId="48565a57b1029db5" providerId="LiveId" clId="{7CA25D5E-FB76-42DE-8B2D-F3CD5663D813}" dt="2023-04-24T08:46:25.216" v="3678" actId="47"/>
        <pc:sldMkLst>
          <pc:docMk/>
          <pc:sldMk cId="0" sldId="321"/>
        </pc:sldMkLst>
      </pc:sldChg>
      <pc:sldChg chg="addSp delSp modSp mod modClrScheme chgLayout">
        <pc:chgData name="Ashish Mahajan" userId="48565a57b1029db5" providerId="LiveId" clId="{7CA25D5E-FB76-42DE-8B2D-F3CD5663D813}" dt="2023-04-24T14:49:51.123" v="8209" actId="2711"/>
        <pc:sldMkLst>
          <pc:docMk/>
          <pc:sldMk cId="0" sldId="16764451"/>
        </pc:sldMkLst>
        <pc:spChg chg="add del mod ord">
          <ac:chgData name="Ashish Mahajan" userId="48565a57b1029db5" providerId="LiveId" clId="{7CA25D5E-FB76-42DE-8B2D-F3CD5663D813}" dt="2023-04-24T14:49:05.140" v="8201" actId="478"/>
          <ac:spMkLst>
            <pc:docMk/>
            <pc:sldMk cId="0" sldId="16764451"/>
            <ac:spMk id="2" creationId="{95E7BFFF-BED7-F6DE-FCC1-28091F2848A3}"/>
          </ac:spMkLst>
        </pc:spChg>
        <pc:spChg chg="add del mod">
          <ac:chgData name="Ashish Mahajan" userId="48565a57b1029db5" providerId="LiveId" clId="{7CA25D5E-FB76-42DE-8B2D-F3CD5663D813}" dt="2023-04-24T14:48:53.382" v="8196" actId="478"/>
          <ac:spMkLst>
            <pc:docMk/>
            <pc:sldMk cId="0" sldId="16764451"/>
            <ac:spMk id="4" creationId="{955D40C9-91E9-E9F2-AC97-FDBBA698184D}"/>
          </ac:spMkLst>
        </pc:spChg>
        <pc:spChg chg="add del mod ord">
          <ac:chgData name="Ashish Mahajan" userId="48565a57b1029db5" providerId="LiveId" clId="{7CA25D5E-FB76-42DE-8B2D-F3CD5663D813}" dt="2023-04-24T14:49:03.632" v="8200" actId="478"/>
          <ac:spMkLst>
            <pc:docMk/>
            <pc:sldMk cId="0" sldId="16764451"/>
            <ac:spMk id="5" creationId="{9CB24F72-AF41-190D-52A7-BCEFAC30F648}"/>
          </ac:spMkLst>
        </pc:spChg>
        <pc:spChg chg="mod ord">
          <ac:chgData name="Ashish Mahajan" userId="48565a57b1029db5" providerId="LiveId" clId="{7CA25D5E-FB76-42DE-8B2D-F3CD5663D813}" dt="2023-04-24T14:49:51.123" v="8209" actId="2711"/>
          <ac:spMkLst>
            <pc:docMk/>
            <pc:sldMk cId="0" sldId="16764451"/>
            <ac:spMk id="419" creationId="{00000000-0000-0000-0000-000000000000}"/>
          </ac:spMkLst>
        </pc:spChg>
        <pc:spChg chg="add del mod">
          <ac:chgData name="Ashish Mahajan" userId="48565a57b1029db5" providerId="LiveId" clId="{7CA25D5E-FB76-42DE-8B2D-F3CD5663D813}" dt="2023-04-24T14:49:01.431" v="8199" actId="478"/>
          <ac:spMkLst>
            <pc:docMk/>
            <pc:sldMk cId="0" sldId="16764451"/>
            <ac:spMk id="420" creationId="{00000000-0000-0000-0000-000000000000}"/>
          </ac:spMkLst>
        </pc:spChg>
        <pc:picChg chg="mod">
          <ac:chgData name="Ashish Mahajan" userId="48565a57b1029db5" providerId="LiveId" clId="{7CA25D5E-FB76-42DE-8B2D-F3CD5663D813}" dt="2023-04-23T18:30:29.312" v="65" actId="14100"/>
          <ac:picMkLst>
            <pc:docMk/>
            <pc:sldMk cId="0" sldId="16764451"/>
            <ac:picMk id="421" creationId="{00000000-0000-0000-0000-000000000000}"/>
          </ac:picMkLst>
        </pc:picChg>
      </pc:sldChg>
      <pc:sldChg chg="modSp mod">
        <pc:chgData name="Ashish Mahajan" userId="48565a57b1029db5" providerId="LiveId" clId="{7CA25D5E-FB76-42DE-8B2D-F3CD5663D813}" dt="2023-04-24T16:11:23.064" v="8321" actId="20577"/>
        <pc:sldMkLst>
          <pc:docMk/>
          <pc:sldMk cId="2547993744" sldId="16764481"/>
        </pc:sldMkLst>
        <pc:spChg chg="mod">
          <ac:chgData name="Ashish Mahajan" userId="48565a57b1029db5" providerId="LiveId" clId="{7CA25D5E-FB76-42DE-8B2D-F3CD5663D813}" dt="2023-04-24T16:11:23.064" v="8321" actId="20577"/>
          <ac:spMkLst>
            <pc:docMk/>
            <pc:sldMk cId="2547993744" sldId="16764481"/>
            <ac:spMk id="2" creationId="{AB331C66-FBC7-59F8-1F1A-6027B53B29A6}"/>
          </ac:spMkLst>
        </pc:spChg>
      </pc:sldChg>
      <pc:sldChg chg="addSp delSp modSp del mod">
        <pc:chgData name="Ashish Mahajan" userId="48565a57b1029db5" providerId="LiveId" clId="{7CA25D5E-FB76-42DE-8B2D-F3CD5663D813}" dt="2023-04-24T06:43:47.039" v="1329" actId="47"/>
        <pc:sldMkLst>
          <pc:docMk/>
          <pc:sldMk cId="96808736" sldId="2147470855"/>
        </pc:sldMkLst>
        <pc:spChg chg="mod">
          <ac:chgData name="Ashish Mahajan" userId="48565a57b1029db5" providerId="LiveId" clId="{7CA25D5E-FB76-42DE-8B2D-F3CD5663D813}" dt="2023-04-24T06:20:48.094" v="878" actId="6549"/>
          <ac:spMkLst>
            <pc:docMk/>
            <pc:sldMk cId="96808736" sldId="2147470855"/>
            <ac:spMk id="14" creationId="{66122E33-DFEB-43FE-B1AC-1E9BCFF28CCF}"/>
          </ac:spMkLst>
        </pc:spChg>
        <pc:spChg chg="del">
          <ac:chgData name="Ashish Mahajan" userId="48565a57b1029db5" providerId="LiveId" clId="{7CA25D5E-FB76-42DE-8B2D-F3CD5663D813}" dt="2023-04-24T06:20:30.337" v="876" actId="478"/>
          <ac:spMkLst>
            <pc:docMk/>
            <pc:sldMk cId="96808736" sldId="2147470855"/>
            <ac:spMk id="17" creationId="{C772297C-85B6-4656-A2C0-4CDDC05C6638}"/>
          </ac:spMkLst>
        </pc:spChg>
        <pc:spChg chg="del">
          <ac:chgData name="Ashish Mahajan" userId="48565a57b1029db5" providerId="LiveId" clId="{7CA25D5E-FB76-42DE-8B2D-F3CD5663D813}" dt="2023-04-24T06:20:37.829" v="877" actId="478"/>
          <ac:spMkLst>
            <pc:docMk/>
            <pc:sldMk cId="96808736" sldId="2147470855"/>
            <ac:spMk id="18" creationId="{CFE09E83-8BF1-4496-8AF1-D8D9025BFF26}"/>
          </ac:spMkLst>
        </pc:spChg>
        <pc:spChg chg="del">
          <ac:chgData name="Ashish Mahajan" userId="48565a57b1029db5" providerId="LiveId" clId="{7CA25D5E-FB76-42DE-8B2D-F3CD5663D813}" dt="2023-04-24T06:24:01.911" v="879" actId="478"/>
          <ac:spMkLst>
            <pc:docMk/>
            <pc:sldMk cId="96808736" sldId="2147470855"/>
            <ac:spMk id="19" creationId="{1876BBBF-58AC-4C16-B585-0A61062CE442}"/>
          </ac:spMkLst>
        </pc:spChg>
        <pc:spChg chg="del">
          <ac:chgData name="Ashish Mahajan" userId="48565a57b1029db5" providerId="LiveId" clId="{7CA25D5E-FB76-42DE-8B2D-F3CD5663D813}" dt="2023-04-24T06:24:06.414" v="881" actId="478"/>
          <ac:spMkLst>
            <pc:docMk/>
            <pc:sldMk cId="96808736" sldId="2147470855"/>
            <ac:spMk id="20" creationId="{AE125C88-CF2A-40DE-91FF-58408E8AB3E9}"/>
          </ac:spMkLst>
        </pc:spChg>
        <pc:spChg chg="mod topLvl">
          <ac:chgData name="Ashish Mahajan" userId="48565a57b1029db5" providerId="LiveId" clId="{7CA25D5E-FB76-42DE-8B2D-F3CD5663D813}" dt="2023-04-24T06:26:03.665" v="898" actId="164"/>
          <ac:spMkLst>
            <pc:docMk/>
            <pc:sldMk cId="96808736" sldId="2147470855"/>
            <ac:spMk id="21" creationId="{40B2A3E7-82FC-472A-95EC-2472407D3898}"/>
          </ac:spMkLst>
        </pc:spChg>
        <pc:spChg chg="mod">
          <ac:chgData name="Ashish Mahajan" userId="48565a57b1029db5" providerId="LiveId" clId="{7CA25D5E-FB76-42DE-8B2D-F3CD5663D813}" dt="2023-04-24T06:27:47.634" v="915" actId="1076"/>
          <ac:spMkLst>
            <pc:docMk/>
            <pc:sldMk cId="96808736" sldId="2147470855"/>
            <ac:spMk id="25" creationId="{BEE70F66-88E6-4F5B-81F6-0C5500298B9C}"/>
          </ac:spMkLst>
        </pc:spChg>
        <pc:spChg chg="del">
          <ac:chgData name="Ashish Mahajan" userId="48565a57b1029db5" providerId="LiveId" clId="{7CA25D5E-FB76-42DE-8B2D-F3CD5663D813}" dt="2023-04-24T06:20:37.829" v="877" actId="478"/>
          <ac:spMkLst>
            <pc:docMk/>
            <pc:sldMk cId="96808736" sldId="2147470855"/>
            <ac:spMk id="26" creationId="{79049A9E-B57D-4591-8519-B9BF6AB35587}"/>
          </ac:spMkLst>
        </pc:spChg>
        <pc:spChg chg="del">
          <ac:chgData name="Ashish Mahajan" userId="48565a57b1029db5" providerId="LiveId" clId="{7CA25D5E-FB76-42DE-8B2D-F3CD5663D813}" dt="2023-04-24T06:24:04.160" v="880" actId="478"/>
          <ac:spMkLst>
            <pc:docMk/>
            <pc:sldMk cId="96808736" sldId="2147470855"/>
            <ac:spMk id="27" creationId="{2659B1BE-2CA4-4E72-9F79-C4CC384AF878}"/>
          </ac:spMkLst>
        </pc:spChg>
        <pc:spChg chg="del">
          <ac:chgData name="Ashish Mahajan" userId="48565a57b1029db5" providerId="LiveId" clId="{7CA25D5E-FB76-42DE-8B2D-F3CD5663D813}" dt="2023-04-24T06:20:37.829" v="877" actId="478"/>
          <ac:spMkLst>
            <pc:docMk/>
            <pc:sldMk cId="96808736" sldId="2147470855"/>
            <ac:spMk id="28" creationId="{FA35971B-CF6D-49C1-B39D-1CA1033A05B7}"/>
          </ac:spMkLst>
        </pc:spChg>
        <pc:spChg chg="del">
          <ac:chgData name="Ashish Mahajan" userId="48565a57b1029db5" providerId="LiveId" clId="{7CA25D5E-FB76-42DE-8B2D-F3CD5663D813}" dt="2023-04-24T06:20:37.829" v="877" actId="478"/>
          <ac:spMkLst>
            <pc:docMk/>
            <pc:sldMk cId="96808736" sldId="2147470855"/>
            <ac:spMk id="32" creationId="{4296286E-D1F0-412C-BBD6-C023CE96824C}"/>
          </ac:spMkLst>
        </pc:spChg>
        <pc:spChg chg="del">
          <ac:chgData name="Ashish Mahajan" userId="48565a57b1029db5" providerId="LiveId" clId="{7CA25D5E-FB76-42DE-8B2D-F3CD5663D813}" dt="2023-04-24T06:20:37.829" v="877" actId="478"/>
          <ac:spMkLst>
            <pc:docMk/>
            <pc:sldMk cId="96808736" sldId="2147470855"/>
            <ac:spMk id="33" creationId="{C09042D3-1A4D-4120-BD72-203320BB0558}"/>
          </ac:spMkLst>
        </pc:spChg>
        <pc:spChg chg="del">
          <ac:chgData name="Ashish Mahajan" userId="48565a57b1029db5" providerId="LiveId" clId="{7CA25D5E-FB76-42DE-8B2D-F3CD5663D813}" dt="2023-04-24T06:20:37.829" v="877" actId="478"/>
          <ac:spMkLst>
            <pc:docMk/>
            <pc:sldMk cId="96808736" sldId="2147470855"/>
            <ac:spMk id="34" creationId="{D77D52BC-FDF6-460C-A434-08E4E8173FE6}"/>
          </ac:spMkLst>
        </pc:spChg>
        <pc:spChg chg="del">
          <ac:chgData name="Ashish Mahajan" userId="48565a57b1029db5" providerId="LiveId" clId="{7CA25D5E-FB76-42DE-8B2D-F3CD5663D813}" dt="2023-04-24T06:20:37.829" v="877" actId="478"/>
          <ac:spMkLst>
            <pc:docMk/>
            <pc:sldMk cId="96808736" sldId="2147470855"/>
            <ac:spMk id="35" creationId="{7F32B17C-44FC-4F4D-9868-385EC07C33E0}"/>
          </ac:spMkLst>
        </pc:spChg>
        <pc:spChg chg="del">
          <ac:chgData name="Ashish Mahajan" userId="48565a57b1029db5" providerId="LiveId" clId="{7CA25D5E-FB76-42DE-8B2D-F3CD5663D813}" dt="2023-04-24T06:20:37.829" v="877" actId="478"/>
          <ac:spMkLst>
            <pc:docMk/>
            <pc:sldMk cId="96808736" sldId="2147470855"/>
            <ac:spMk id="36" creationId="{29B1C1F2-8FE8-4E01-BB14-F5428D207E77}"/>
          </ac:spMkLst>
        </pc:spChg>
        <pc:spChg chg="del">
          <ac:chgData name="Ashish Mahajan" userId="48565a57b1029db5" providerId="LiveId" clId="{7CA25D5E-FB76-42DE-8B2D-F3CD5663D813}" dt="2023-04-24T06:20:37.829" v="877" actId="478"/>
          <ac:spMkLst>
            <pc:docMk/>
            <pc:sldMk cId="96808736" sldId="2147470855"/>
            <ac:spMk id="37" creationId="{87F316F1-55FB-48BE-9C23-982C8AFDAC6F}"/>
          </ac:spMkLst>
        </pc:spChg>
        <pc:spChg chg="del">
          <ac:chgData name="Ashish Mahajan" userId="48565a57b1029db5" providerId="LiveId" clId="{7CA25D5E-FB76-42DE-8B2D-F3CD5663D813}" dt="2023-04-24T06:20:37.829" v="877" actId="478"/>
          <ac:spMkLst>
            <pc:docMk/>
            <pc:sldMk cId="96808736" sldId="2147470855"/>
            <ac:spMk id="38" creationId="{167A0EBF-5251-4FF7-BFB4-62DCDD6F7D5C}"/>
          </ac:spMkLst>
        </pc:spChg>
        <pc:spChg chg="del">
          <ac:chgData name="Ashish Mahajan" userId="48565a57b1029db5" providerId="LiveId" clId="{7CA25D5E-FB76-42DE-8B2D-F3CD5663D813}" dt="2023-04-24T06:20:37.829" v="877" actId="478"/>
          <ac:spMkLst>
            <pc:docMk/>
            <pc:sldMk cId="96808736" sldId="2147470855"/>
            <ac:spMk id="39" creationId="{D5569259-983D-4040-8D40-20F82ED0E0EE}"/>
          </ac:spMkLst>
        </pc:spChg>
        <pc:spChg chg="del">
          <ac:chgData name="Ashish Mahajan" userId="48565a57b1029db5" providerId="LiveId" clId="{7CA25D5E-FB76-42DE-8B2D-F3CD5663D813}" dt="2023-04-24T06:20:37.829" v="877" actId="478"/>
          <ac:spMkLst>
            <pc:docMk/>
            <pc:sldMk cId="96808736" sldId="2147470855"/>
            <ac:spMk id="40" creationId="{D84BC507-112E-49EF-A6FB-F0AFB8FAA44C}"/>
          </ac:spMkLst>
        </pc:spChg>
        <pc:spChg chg="del">
          <ac:chgData name="Ashish Mahajan" userId="48565a57b1029db5" providerId="LiveId" clId="{7CA25D5E-FB76-42DE-8B2D-F3CD5663D813}" dt="2023-04-24T06:20:37.829" v="877" actId="478"/>
          <ac:spMkLst>
            <pc:docMk/>
            <pc:sldMk cId="96808736" sldId="2147470855"/>
            <ac:spMk id="41" creationId="{167A43E0-4A97-41A3-89BA-995C2A4E4C82}"/>
          </ac:spMkLst>
        </pc:spChg>
        <pc:spChg chg="del">
          <ac:chgData name="Ashish Mahajan" userId="48565a57b1029db5" providerId="LiveId" clId="{7CA25D5E-FB76-42DE-8B2D-F3CD5663D813}" dt="2023-04-24T06:20:37.829" v="877" actId="478"/>
          <ac:spMkLst>
            <pc:docMk/>
            <pc:sldMk cId="96808736" sldId="2147470855"/>
            <ac:spMk id="42" creationId="{5CBEBF71-9746-454A-B7E1-9497DDB25FB5}"/>
          </ac:spMkLst>
        </pc:spChg>
        <pc:spChg chg="del">
          <ac:chgData name="Ashish Mahajan" userId="48565a57b1029db5" providerId="LiveId" clId="{7CA25D5E-FB76-42DE-8B2D-F3CD5663D813}" dt="2023-04-24T06:20:37.829" v="877" actId="478"/>
          <ac:spMkLst>
            <pc:docMk/>
            <pc:sldMk cId="96808736" sldId="2147470855"/>
            <ac:spMk id="43" creationId="{720FAA20-AB35-4C33-B8C3-1CB3BA93980D}"/>
          </ac:spMkLst>
        </pc:spChg>
        <pc:spChg chg="del">
          <ac:chgData name="Ashish Mahajan" userId="48565a57b1029db5" providerId="LiveId" clId="{7CA25D5E-FB76-42DE-8B2D-F3CD5663D813}" dt="2023-04-24T06:24:01.911" v="879" actId="478"/>
          <ac:spMkLst>
            <pc:docMk/>
            <pc:sldMk cId="96808736" sldId="2147470855"/>
            <ac:spMk id="54" creationId="{B9786672-AD72-4A6D-AEB6-59F4A19C50EE}"/>
          </ac:spMkLst>
        </pc:spChg>
        <pc:grpChg chg="mod">
          <ac:chgData name="Ashish Mahajan" userId="48565a57b1029db5" providerId="LiveId" clId="{7CA25D5E-FB76-42DE-8B2D-F3CD5663D813}" dt="2023-04-24T06:27:40.573" v="914" actId="1076"/>
          <ac:grpSpMkLst>
            <pc:docMk/>
            <pc:sldMk cId="96808736" sldId="2147470855"/>
            <ac:grpSpMk id="4" creationId="{2A3D7900-0FED-47BE-8589-B849F669132A}"/>
          </ac:grpSpMkLst>
        </pc:grpChg>
        <pc:grpChg chg="del mod">
          <ac:chgData name="Ashish Mahajan" userId="48565a57b1029db5" providerId="LiveId" clId="{7CA25D5E-FB76-42DE-8B2D-F3CD5663D813}" dt="2023-04-24T06:25:50.667" v="896" actId="165"/>
          <ac:grpSpMkLst>
            <pc:docMk/>
            <pc:sldMk cId="96808736" sldId="2147470855"/>
            <ac:grpSpMk id="6" creationId="{0989252C-5CEB-40CD-8207-9D05601189A9}"/>
          </ac:grpSpMkLst>
        </pc:grpChg>
        <pc:grpChg chg="add mod">
          <ac:chgData name="Ashish Mahajan" userId="48565a57b1029db5" providerId="LiveId" clId="{7CA25D5E-FB76-42DE-8B2D-F3CD5663D813}" dt="2023-04-24T06:27:03.478" v="910" actId="1076"/>
          <ac:grpSpMkLst>
            <pc:docMk/>
            <pc:sldMk cId="96808736" sldId="2147470855"/>
            <ac:grpSpMk id="11" creationId="{5FF9F3A4-A50A-12C0-4F2A-779913B5F975}"/>
          </ac:grpSpMkLst>
        </pc:grpChg>
        <pc:graphicFrameChg chg="del">
          <ac:chgData name="Ashish Mahajan" userId="48565a57b1029db5" providerId="LiveId" clId="{7CA25D5E-FB76-42DE-8B2D-F3CD5663D813}" dt="2023-04-24T06:20:37.829" v="877" actId="478"/>
          <ac:graphicFrameMkLst>
            <pc:docMk/>
            <pc:sldMk cId="96808736" sldId="2147470855"/>
            <ac:graphicFrameMk id="16" creationId="{827980A1-84B3-48F0-B49F-4047BB43FAEC}"/>
          </ac:graphicFrameMkLst>
        </pc:graphicFrameChg>
        <pc:graphicFrameChg chg="mod">
          <ac:chgData name="Ashish Mahajan" userId="48565a57b1029db5" providerId="LiveId" clId="{7CA25D5E-FB76-42DE-8B2D-F3CD5663D813}" dt="2023-04-24T06:27:07.161" v="911" actId="1076"/>
          <ac:graphicFrameMkLst>
            <pc:docMk/>
            <pc:sldMk cId="96808736" sldId="2147470855"/>
            <ac:graphicFrameMk id="22" creationId="{44E642C7-4364-412A-84B1-F1337B0DCB23}"/>
          </ac:graphicFrameMkLst>
        </pc:graphicFrameChg>
        <pc:graphicFrameChg chg="mod topLvl">
          <ac:chgData name="Ashish Mahajan" userId="48565a57b1029db5" providerId="LiveId" clId="{7CA25D5E-FB76-42DE-8B2D-F3CD5663D813}" dt="2023-04-24T06:26:03.665" v="898" actId="164"/>
          <ac:graphicFrameMkLst>
            <pc:docMk/>
            <pc:sldMk cId="96808736" sldId="2147470855"/>
            <ac:graphicFrameMk id="29" creationId="{34779C94-AF4D-4613-B38F-10191CD2B78F}"/>
          </ac:graphicFrameMkLst>
        </pc:graphicFrameChg>
        <pc:picChg chg="add del">
          <ac:chgData name="Ashish Mahajan" userId="48565a57b1029db5" providerId="LiveId" clId="{7CA25D5E-FB76-42DE-8B2D-F3CD5663D813}" dt="2023-04-24T06:24:11.871" v="883" actId="478"/>
          <ac:picMkLst>
            <pc:docMk/>
            <pc:sldMk cId="96808736" sldId="2147470855"/>
            <ac:picMk id="8" creationId="{0A6F46EC-7584-4CBD-72C1-D2DE269E9A30}"/>
          </ac:picMkLst>
        </pc:picChg>
        <pc:picChg chg="add mod modCrop">
          <ac:chgData name="Ashish Mahajan" userId="48565a57b1029db5" providerId="LiveId" clId="{7CA25D5E-FB76-42DE-8B2D-F3CD5663D813}" dt="2023-04-24T06:26:48.469" v="907" actId="1076"/>
          <ac:picMkLst>
            <pc:docMk/>
            <pc:sldMk cId="96808736" sldId="2147470855"/>
            <ac:picMk id="10" creationId="{E5EE6056-49A0-C49B-DF92-F7C765CBDB6F}"/>
          </ac:picMkLst>
        </pc:picChg>
      </pc:sldChg>
      <pc:sldChg chg="del">
        <pc:chgData name="Ashish Mahajan" userId="48565a57b1029db5" providerId="LiveId" clId="{7CA25D5E-FB76-42DE-8B2D-F3CD5663D813}" dt="2023-04-24T06:17:16.206" v="865" actId="2696"/>
        <pc:sldMkLst>
          <pc:docMk/>
          <pc:sldMk cId="1187769538" sldId="2147470856"/>
        </pc:sldMkLst>
      </pc:sldChg>
      <pc:sldChg chg="add del">
        <pc:chgData name="Ashish Mahajan" userId="48565a57b1029db5" providerId="LiveId" clId="{7CA25D5E-FB76-42DE-8B2D-F3CD5663D813}" dt="2023-04-24T08:46:25.216" v="3678" actId="47"/>
        <pc:sldMkLst>
          <pc:docMk/>
          <pc:sldMk cId="2244856685" sldId="2147470856"/>
        </pc:sldMkLst>
      </pc:sldChg>
      <pc:sldChg chg="del">
        <pc:chgData name="Ashish Mahajan" userId="48565a57b1029db5" providerId="LiveId" clId="{7CA25D5E-FB76-42DE-8B2D-F3CD5663D813}" dt="2023-04-24T07:08:39.590" v="1916" actId="47"/>
        <pc:sldMkLst>
          <pc:docMk/>
          <pc:sldMk cId="1768737033" sldId="2147470857"/>
        </pc:sldMkLst>
      </pc:sldChg>
      <pc:sldChg chg="modSp mod ord">
        <pc:chgData name="Ashish Mahajan" userId="48565a57b1029db5" providerId="LiveId" clId="{7CA25D5E-FB76-42DE-8B2D-F3CD5663D813}" dt="2023-04-24T08:23:14.104" v="2681" actId="20577"/>
        <pc:sldMkLst>
          <pc:docMk/>
          <pc:sldMk cId="799871675" sldId="2147470860"/>
        </pc:sldMkLst>
        <pc:spChg chg="mod">
          <ac:chgData name="Ashish Mahajan" userId="48565a57b1029db5" providerId="LiveId" clId="{7CA25D5E-FB76-42DE-8B2D-F3CD5663D813}" dt="2023-04-24T08:23:14.104" v="2681" actId="20577"/>
          <ac:spMkLst>
            <pc:docMk/>
            <pc:sldMk cId="799871675" sldId="2147470860"/>
            <ac:spMk id="26" creationId="{00000000-0000-0000-0000-000000000000}"/>
          </ac:spMkLst>
        </pc:spChg>
      </pc:sldChg>
      <pc:sldChg chg="addSp delSp modSp mod modClrScheme chgLayout">
        <pc:chgData name="Ashish Mahajan" userId="48565a57b1029db5" providerId="LiveId" clId="{7CA25D5E-FB76-42DE-8B2D-F3CD5663D813}" dt="2023-04-24T14:49:46.092" v="8208" actId="2711"/>
        <pc:sldMkLst>
          <pc:docMk/>
          <pc:sldMk cId="0" sldId="2147470866"/>
        </pc:sldMkLst>
        <pc:spChg chg="add del mod ord">
          <ac:chgData name="Ashish Mahajan" userId="48565a57b1029db5" providerId="LiveId" clId="{7CA25D5E-FB76-42DE-8B2D-F3CD5663D813}" dt="2023-04-24T14:48:26.402" v="8186" actId="700"/>
          <ac:spMkLst>
            <pc:docMk/>
            <pc:sldMk cId="0" sldId="2147470866"/>
            <ac:spMk id="2" creationId="{FC882CA2-E4C7-DCF0-E576-28204FA3CB25}"/>
          </ac:spMkLst>
        </pc:spChg>
        <pc:spChg chg="add del mod ord">
          <ac:chgData name="Ashish Mahajan" userId="48565a57b1029db5" providerId="LiveId" clId="{7CA25D5E-FB76-42DE-8B2D-F3CD5663D813}" dt="2023-04-24T14:48:26.402" v="8186" actId="700"/>
          <ac:spMkLst>
            <pc:docMk/>
            <pc:sldMk cId="0" sldId="2147470866"/>
            <ac:spMk id="3" creationId="{BF90D2B1-2A29-65A7-C217-3CE404A35D12}"/>
          </ac:spMkLst>
        </pc:spChg>
        <pc:spChg chg="add del mod ord">
          <ac:chgData name="Ashish Mahajan" userId="48565a57b1029db5" providerId="LiveId" clId="{7CA25D5E-FB76-42DE-8B2D-F3CD5663D813}" dt="2023-04-24T14:48:26.402" v="8186" actId="700"/>
          <ac:spMkLst>
            <pc:docMk/>
            <pc:sldMk cId="0" sldId="2147470866"/>
            <ac:spMk id="4" creationId="{4D5F035C-B496-6BA2-54A0-1171A22736A1}"/>
          </ac:spMkLst>
        </pc:spChg>
        <pc:spChg chg="add del mod ord">
          <ac:chgData name="Ashish Mahajan" userId="48565a57b1029db5" providerId="LiveId" clId="{7CA25D5E-FB76-42DE-8B2D-F3CD5663D813}" dt="2023-04-24T14:48:36.491" v="8190" actId="478"/>
          <ac:spMkLst>
            <pc:docMk/>
            <pc:sldMk cId="0" sldId="2147470866"/>
            <ac:spMk id="5" creationId="{4373569C-3DEE-C54B-52BF-ED29DF0525D1}"/>
          </ac:spMkLst>
        </pc:spChg>
        <pc:spChg chg="add del mod ord">
          <ac:chgData name="Ashish Mahajan" userId="48565a57b1029db5" providerId="LiveId" clId="{7CA25D5E-FB76-42DE-8B2D-F3CD5663D813}" dt="2023-04-24T14:48:34.544" v="8189" actId="478"/>
          <ac:spMkLst>
            <pc:docMk/>
            <pc:sldMk cId="0" sldId="2147470866"/>
            <ac:spMk id="7" creationId="{71E7F7B4-23E6-16CC-B99E-B70ED26C8087}"/>
          </ac:spMkLst>
        </pc:spChg>
        <pc:spChg chg="mod ord">
          <ac:chgData name="Ashish Mahajan" userId="48565a57b1029db5" providerId="LiveId" clId="{7CA25D5E-FB76-42DE-8B2D-F3CD5663D813}" dt="2023-04-24T14:49:46.092" v="8208" actId="2711"/>
          <ac:spMkLst>
            <pc:docMk/>
            <pc:sldMk cId="0" sldId="2147470866"/>
            <ac:spMk id="410" creationId="{00000000-0000-0000-0000-000000000000}"/>
          </ac:spMkLst>
        </pc:spChg>
        <pc:spChg chg="add del">
          <ac:chgData name="Ashish Mahajan" userId="48565a57b1029db5" providerId="LiveId" clId="{7CA25D5E-FB76-42DE-8B2D-F3CD5663D813}" dt="2023-04-24T14:48:32.241" v="8188" actId="478"/>
          <ac:spMkLst>
            <pc:docMk/>
            <pc:sldMk cId="0" sldId="2147470866"/>
            <ac:spMk id="411" creationId="{00000000-0000-0000-0000-000000000000}"/>
          </ac:spMkLst>
        </pc:spChg>
        <pc:picChg chg="mod">
          <ac:chgData name="Ashish Mahajan" userId="48565a57b1029db5" providerId="LiveId" clId="{7CA25D5E-FB76-42DE-8B2D-F3CD5663D813}" dt="2023-04-23T18:29:56.174" v="41" actId="1036"/>
          <ac:picMkLst>
            <pc:docMk/>
            <pc:sldMk cId="0" sldId="2147470866"/>
            <ac:picMk id="6" creationId="{95FCB23C-61FD-3AF8-39C9-B2FF7B0C0A21}"/>
          </ac:picMkLst>
        </pc:picChg>
        <pc:picChg chg="mod">
          <ac:chgData name="Ashish Mahajan" userId="48565a57b1029db5" providerId="LiveId" clId="{7CA25D5E-FB76-42DE-8B2D-F3CD5663D813}" dt="2023-04-23T18:30:17.206" v="64" actId="1038"/>
          <ac:picMkLst>
            <pc:docMk/>
            <pc:sldMk cId="0" sldId="2147470866"/>
            <ac:picMk id="413" creationId="{00000000-0000-0000-0000-000000000000}"/>
          </ac:picMkLst>
        </pc:picChg>
      </pc:sldChg>
      <pc:sldChg chg="del">
        <pc:chgData name="Ashish Mahajan" userId="48565a57b1029db5" providerId="LiveId" clId="{7CA25D5E-FB76-42DE-8B2D-F3CD5663D813}" dt="2023-04-24T08:46:25.216" v="3678" actId="47"/>
        <pc:sldMkLst>
          <pc:docMk/>
          <pc:sldMk cId="4211775144" sldId="2147470868"/>
        </pc:sldMkLst>
      </pc:sldChg>
      <pc:sldChg chg="addSp delSp modSp mod modClrScheme chgLayout">
        <pc:chgData name="Ashish Mahajan" userId="48565a57b1029db5" providerId="LiveId" clId="{7CA25D5E-FB76-42DE-8B2D-F3CD5663D813}" dt="2023-04-24T14:46:53.757" v="8132" actId="478"/>
        <pc:sldMkLst>
          <pc:docMk/>
          <pc:sldMk cId="0" sldId="2147470869"/>
        </pc:sldMkLst>
        <pc:spChg chg="add del mod ord">
          <ac:chgData name="Ashish Mahajan" userId="48565a57b1029db5" providerId="LiveId" clId="{7CA25D5E-FB76-42DE-8B2D-F3CD5663D813}" dt="2023-04-24T08:46:51.826" v="3680" actId="700"/>
          <ac:spMkLst>
            <pc:docMk/>
            <pc:sldMk cId="0" sldId="2147470869"/>
            <ac:spMk id="2" creationId="{B1E20D18-BEC2-1243-13C2-9DE59EFE6559}"/>
          </ac:spMkLst>
        </pc:spChg>
        <pc:spChg chg="add del mod ord">
          <ac:chgData name="Ashish Mahajan" userId="48565a57b1029db5" providerId="LiveId" clId="{7CA25D5E-FB76-42DE-8B2D-F3CD5663D813}" dt="2023-04-24T14:46:37.811" v="8128" actId="478"/>
          <ac:spMkLst>
            <pc:docMk/>
            <pc:sldMk cId="0" sldId="2147470869"/>
            <ac:spMk id="2" creationId="{F462E79E-36E4-8A2A-3D1F-359C4FBCBD10}"/>
          </ac:spMkLst>
        </pc:spChg>
        <pc:spChg chg="add del mod ord">
          <ac:chgData name="Ashish Mahajan" userId="48565a57b1029db5" providerId="LiveId" clId="{7CA25D5E-FB76-42DE-8B2D-F3CD5663D813}" dt="2023-04-24T14:46:35.186" v="8127" actId="478"/>
          <ac:spMkLst>
            <pc:docMk/>
            <pc:sldMk cId="0" sldId="2147470869"/>
            <ac:spMk id="4" creationId="{61F4C051-9D3F-D7E2-9106-73414689A0FE}"/>
          </ac:spMkLst>
        </pc:spChg>
        <pc:spChg chg="add del mod ord">
          <ac:chgData name="Ashish Mahajan" userId="48565a57b1029db5" providerId="LiveId" clId="{7CA25D5E-FB76-42DE-8B2D-F3CD5663D813}" dt="2023-04-24T14:46:53.757" v="8132" actId="478"/>
          <ac:spMkLst>
            <pc:docMk/>
            <pc:sldMk cId="0" sldId="2147470869"/>
            <ac:spMk id="5" creationId="{6A147815-B2EE-5E6B-EC57-D889E1C85D10}"/>
          </ac:spMkLst>
        </pc:spChg>
        <pc:spChg chg="mod ord">
          <ac:chgData name="Ashish Mahajan" userId="48565a57b1029db5" providerId="LiveId" clId="{7CA25D5E-FB76-42DE-8B2D-F3CD5663D813}" dt="2023-04-24T14:46:50.016" v="8131" actId="14100"/>
          <ac:spMkLst>
            <pc:docMk/>
            <pc:sldMk cId="0" sldId="2147470869"/>
            <ac:spMk id="394" creationId="{00000000-0000-0000-0000-000000000000}"/>
          </ac:spMkLst>
        </pc:spChg>
        <pc:picChg chg="mod">
          <ac:chgData name="Ashish Mahajan" userId="48565a57b1029db5" providerId="LiveId" clId="{7CA25D5E-FB76-42DE-8B2D-F3CD5663D813}" dt="2023-04-23T18:29:20.175" v="4" actId="1076"/>
          <ac:picMkLst>
            <pc:docMk/>
            <pc:sldMk cId="0" sldId="2147470869"/>
            <ac:picMk id="397" creationId="{00000000-0000-0000-0000-000000000000}"/>
          </ac:picMkLst>
        </pc:picChg>
      </pc:sldChg>
      <pc:sldChg chg="modSp mod">
        <pc:chgData name="Ashish Mahajan" userId="48565a57b1029db5" providerId="LiveId" clId="{7CA25D5E-FB76-42DE-8B2D-F3CD5663D813}" dt="2023-04-24T14:52:19.936" v="8228" actId="20577"/>
        <pc:sldMkLst>
          <pc:docMk/>
          <pc:sldMk cId="0" sldId="2147470870"/>
        </pc:sldMkLst>
        <pc:spChg chg="mod">
          <ac:chgData name="Ashish Mahajan" userId="48565a57b1029db5" providerId="LiveId" clId="{7CA25D5E-FB76-42DE-8B2D-F3CD5663D813}" dt="2023-04-24T14:52:19.936" v="8228" actId="20577"/>
          <ac:spMkLst>
            <pc:docMk/>
            <pc:sldMk cId="0" sldId="2147470870"/>
            <ac:spMk id="16" creationId="{00000000-0000-0000-0000-000000000000}"/>
          </ac:spMkLst>
        </pc:spChg>
      </pc:sldChg>
      <pc:sldChg chg="addSp modSp mod">
        <pc:chgData name="Ashish Mahajan" userId="48565a57b1029db5" providerId="LiveId" clId="{7CA25D5E-FB76-42DE-8B2D-F3CD5663D813}" dt="2023-04-24T16:07:12.807" v="8256" actId="14100"/>
        <pc:sldMkLst>
          <pc:docMk/>
          <pc:sldMk cId="3757934115" sldId="2147470872"/>
        </pc:sldMkLst>
        <pc:spChg chg="add mod">
          <ac:chgData name="Ashish Mahajan" userId="48565a57b1029db5" providerId="LiveId" clId="{7CA25D5E-FB76-42DE-8B2D-F3CD5663D813}" dt="2023-04-24T14:51:34.818" v="8226" actId="14100"/>
          <ac:spMkLst>
            <pc:docMk/>
            <pc:sldMk cId="3757934115" sldId="2147470872"/>
            <ac:spMk id="4" creationId="{A4C3EAF7-A1F8-9D0F-FEEE-5F5E8FB77357}"/>
          </ac:spMkLst>
        </pc:spChg>
        <pc:spChg chg="mod">
          <ac:chgData name="Ashish Mahajan" userId="48565a57b1029db5" providerId="LiveId" clId="{7CA25D5E-FB76-42DE-8B2D-F3CD5663D813}" dt="2023-04-23T18:28:00.664" v="0" actId="404"/>
          <ac:spMkLst>
            <pc:docMk/>
            <pc:sldMk cId="3757934115" sldId="2147470872"/>
            <ac:spMk id="13" creationId="{8E9E81D4-EF66-21F4-8664-CC76744B1C5A}"/>
          </ac:spMkLst>
        </pc:spChg>
        <pc:spChg chg="mod">
          <ac:chgData name="Ashish Mahajan" userId="48565a57b1029db5" providerId="LiveId" clId="{7CA25D5E-FB76-42DE-8B2D-F3CD5663D813}" dt="2023-04-24T16:07:12.807" v="8256" actId="14100"/>
          <ac:spMkLst>
            <pc:docMk/>
            <pc:sldMk cId="3757934115" sldId="2147470872"/>
            <ac:spMk id="19" creationId="{E2DFD444-1A54-3AC8-0914-618994526E35}"/>
          </ac:spMkLst>
        </pc:spChg>
      </pc:sldChg>
      <pc:sldChg chg="modSp mod">
        <pc:chgData name="Ashish Mahajan" userId="48565a57b1029db5" providerId="LiveId" clId="{7CA25D5E-FB76-42DE-8B2D-F3CD5663D813}" dt="2023-04-24T16:10:58.711" v="8319" actId="403"/>
        <pc:sldMkLst>
          <pc:docMk/>
          <pc:sldMk cId="3546148844" sldId="2147470873"/>
        </pc:sldMkLst>
        <pc:spChg chg="mod">
          <ac:chgData name="Ashish Mahajan" userId="48565a57b1029db5" providerId="LiveId" clId="{7CA25D5E-FB76-42DE-8B2D-F3CD5663D813}" dt="2023-04-24T16:10:49.893" v="8317" actId="1076"/>
          <ac:spMkLst>
            <pc:docMk/>
            <pc:sldMk cId="3546148844" sldId="2147470873"/>
            <ac:spMk id="5" creationId="{F3E58DF2-2CEB-4318-63C7-84C512147BBD}"/>
          </ac:spMkLst>
        </pc:spChg>
        <pc:spChg chg="mod">
          <ac:chgData name="Ashish Mahajan" userId="48565a57b1029db5" providerId="LiveId" clId="{7CA25D5E-FB76-42DE-8B2D-F3CD5663D813}" dt="2023-04-24T16:10:43.740" v="8315" actId="120"/>
          <ac:spMkLst>
            <pc:docMk/>
            <pc:sldMk cId="3546148844" sldId="2147470873"/>
            <ac:spMk id="6" creationId="{D35F69BB-FFB6-D38B-E855-BDD6B397C5E6}"/>
          </ac:spMkLst>
        </pc:spChg>
        <pc:spChg chg="mod">
          <ac:chgData name="Ashish Mahajan" userId="48565a57b1029db5" providerId="LiveId" clId="{7CA25D5E-FB76-42DE-8B2D-F3CD5663D813}" dt="2023-04-24T16:10:58.711" v="8319" actId="403"/>
          <ac:spMkLst>
            <pc:docMk/>
            <pc:sldMk cId="3546148844" sldId="2147470873"/>
            <ac:spMk id="9" creationId="{33F9F5F1-8CEC-7646-1C17-687FCE1781EF}"/>
          </ac:spMkLst>
        </pc:spChg>
        <pc:picChg chg="mod">
          <ac:chgData name="Ashish Mahajan" userId="48565a57b1029db5" providerId="LiveId" clId="{7CA25D5E-FB76-42DE-8B2D-F3CD5663D813}" dt="2023-04-24T16:09:21.297" v="8291" actId="1076"/>
          <ac:picMkLst>
            <pc:docMk/>
            <pc:sldMk cId="3546148844" sldId="2147470873"/>
            <ac:picMk id="4" creationId="{7B585F4B-C116-F012-6670-B2EE6F7502CE}"/>
          </ac:picMkLst>
        </pc:picChg>
        <pc:picChg chg="mod modCrop">
          <ac:chgData name="Ashish Mahajan" userId="48565a57b1029db5" providerId="LiveId" clId="{7CA25D5E-FB76-42DE-8B2D-F3CD5663D813}" dt="2023-04-24T16:08:55.191" v="8285" actId="1076"/>
          <ac:picMkLst>
            <pc:docMk/>
            <pc:sldMk cId="3546148844" sldId="2147470873"/>
            <ac:picMk id="7" creationId="{D64FEB4D-A6CA-D8E2-761B-18D2A7EED23A}"/>
          </ac:picMkLst>
        </pc:picChg>
        <pc:picChg chg="mod">
          <ac:chgData name="Ashish Mahajan" userId="48565a57b1029db5" providerId="LiveId" clId="{7CA25D5E-FB76-42DE-8B2D-F3CD5663D813}" dt="2023-04-24T16:09:38.598" v="8297" actId="1076"/>
          <ac:picMkLst>
            <pc:docMk/>
            <pc:sldMk cId="3546148844" sldId="2147470873"/>
            <ac:picMk id="8" creationId="{88DD0628-90D5-133B-21EE-B88E5F3659D8}"/>
          </ac:picMkLst>
        </pc:picChg>
      </pc:sldChg>
      <pc:sldChg chg="modSp">
        <pc:chgData name="Ashish Mahajan" userId="48565a57b1029db5" providerId="LiveId" clId="{7CA25D5E-FB76-42DE-8B2D-F3CD5663D813}" dt="2023-04-24T14:40:44.224" v="8067"/>
        <pc:sldMkLst>
          <pc:docMk/>
          <pc:sldMk cId="0" sldId="2147470874"/>
        </pc:sldMkLst>
        <pc:spChg chg="mod">
          <ac:chgData name="Ashish Mahajan" userId="48565a57b1029db5" providerId="LiveId" clId="{7CA25D5E-FB76-42DE-8B2D-F3CD5663D813}" dt="2023-04-24T14:40:44.224" v="8067"/>
          <ac:spMkLst>
            <pc:docMk/>
            <pc:sldMk cId="0" sldId="2147470874"/>
            <ac:spMk id="6" creationId="{0A2E134E-9E80-A3BB-4141-C71B79FDCF06}"/>
          </ac:spMkLst>
        </pc:spChg>
      </pc:sldChg>
      <pc:sldChg chg="addSp delSp modSp add mod modClrScheme chgLayout">
        <pc:chgData name="Ashish Mahajan" userId="48565a57b1029db5" providerId="LiveId" clId="{7CA25D5E-FB76-42DE-8B2D-F3CD5663D813}" dt="2023-04-24T14:45:34.772" v="8116" actId="478"/>
        <pc:sldMkLst>
          <pc:docMk/>
          <pc:sldMk cId="0" sldId="2147470875"/>
        </pc:sldMkLst>
        <pc:spChg chg="add del mod ord">
          <ac:chgData name="Ashish Mahajan" userId="48565a57b1029db5" providerId="LiveId" clId="{7CA25D5E-FB76-42DE-8B2D-F3CD5663D813}" dt="2023-04-24T14:44:56.393" v="8108" actId="700"/>
          <ac:spMkLst>
            <pc:docMk/>
            <pc:sldMk cId="0" sldId="2147470875"/>
            <ac:spMk id="2" creationId="{74459E2E-E76D-BDB4-0345-993F1526389F}"/>
          </ac:spMkLst>
        </pc:spChg>
        <pc:spChg chg="add del mod ord">
          <ac:chgData name="Ashish Mahajan" userId="48565a57b1029db5" providerId="LiveId" clId="{7CA25D5E-FB76-42DE-8B2D-F3CD5663D813}" dt="2023-04-24T14:44:56.393" v="8108" actId="700"/>
          <ac:spMkLst>
            <pc:docMk/>
            <pc:sldMk cId="0" sldId="2147470875"/>
            <ac:spMk id="3" creationId="{549D0BD7-F74B-C005-4DDD-F56CB6FA02D2}"/>
          </ac:spMkLst>
        </pc:spChg>
        <pc:spChg chg="add del mod ord">
          <ac:chgData name="Ashish Mahajan" userId="48565a57b1029db5" providerId="LiveId" clId="{7CA25D5E-FB76-42DE-8B2D-F3CD5663D813}" dt="2023-04-24T14:44:56.393" v="8108" actId="700"/>
          <ac:spMkLst>
            <pc:docMk/>
            <pc:sldMk cId="0" sldId="2147470875"/>
            <ac:spMk id="5" creationId="{168B0E94-D89A-D4E9-6D00-83480288F192}"/>
          </ac:spMkLst>
        </pc:spChg>
        <pc:spChg chg="add del mod ord">
          <ac:chgData name="Ashish Mahajan" userId="48565a57b1029db5" providerId="LiveId" clId="{7CA25D5E-FB76-42DE-8B2D-F3CD5663D813}" dt="2023-04-24T14:45:08.842" v="8110" actId="700"/>
          <ac:spMkLst>
            <pc:docMk/>
            <pc:sldMk cId="0" sldId="2147470875"/>
            <ac:spMk id="6" creationId="{48BB02E8-C23A-994D-EF99-EBCC60743251}"/>
          </ac:spMkLst>
        </pc:spChg>
        <pc:spChg chg="add del mod ord">
          <ac:chgData name="Ashish Mahajan" userId="48565a57b1029db5" providerId="LiveId" clId="{7CA25D5E-FB76-42DE-8B2D-F3CD5663D813}" dt="2023-04-24T14:45:08.842" v="8110" actId="700"/>
          <ac:spMkLst>
            <pc:docMk/>
            <pc:sldMk cId="0" sldId="2147470875"/>
            <ac:spMk id="7" creationId="{1F832198-C107-70CD-D6D3-6FE4C6DCC178}"/>
          </ac:spMkLst>
        </pc:spChg>
        <pc:spChg chg="add del mod ord">
          <ac:chgData name="Ashish Mahajan" userId="48565a57b1029db5" providerId="LiveId" clId="{7CA25D5E-FB76-42DE-8B2D-F3CD5663D813}" dt="2023-04-24T14:45:08.842" v="8110" actId="700"/>
          <ac:spMkLst>
            <pc:docMk/>
            <pc:sldMk cId="0" sldId="2147470875"/>
            <ac:spMk id="8" creationId="{325E522C-CD0E-EC84-9901-59F84E836007}"/>
          </ac:spMkLst>
        </pc:spChg>
        <pc:spChg chg="add del mod ord">
          <ac:chgData name="Ashish Mahajan" userId="48565a57b1029db5" providerId="LiveId" clId="{7CA25D5E-FB76-42DE-8B2D-F3CD5663D813}" dt="2023-04-24T14:45:34.772" v="8116" actId="478"/>
          <ac:spMkLst>
            <pc:docMk/>
            <pc:sldMk cId="0" sldId="2147470875"/>
            <ac:spMk id="9" creationId="{92E9BE25-191A-B500-BC67-20C4A48A7F94}"/>
          </ac:spMkLst>
        </pc:spChg>
        <pc:spChg chg="add del mod ord">
          <ac:chgData name="Ashish Mahajan" userId="48565a57b1029db5" providerId="LiveId" clId="{7CA25D5E-FB76-42DE-8B2D-F3CD5663D813}" dt="2023-04-24T14:45:26.804" v="8113" actId="478"/>
          <ac:spMkLst>
            <pc:docMk/>
            <pc:sldMk cId="0" sldId="2147470875"/>
            <ac:spMk id="10" creationId="{D190B24E-6D33-4F1E-D3A6-4A3D3E3C6646}"/>
          </ac:spMkLst>
        </pc:spChg>
        <pc:spChg chg="add del">
          <ac:chgData name="Ashish Mahajan" userId="48565a57b1029db5" providerId="LiveId" clId="{7CA25D5E-FB76-42DE-8B2D-F3CD5663D813}" dt="2023-04-24T14:45:32.723" v="8115" actId="478"/>
          <ac:spMkLst>
            <pc:docMk/>
            <pc:sldMk cId="0" sldId="2147470875"/>
            <ac:spMk id="375" creationId="{00000000-0000-0000-0000-000000000000}"/>
          </ac:spMkLst>
        </pc:spChg>
        <pc:spChg chg="del">
          <ac:chgData name="Ashish Mahajan" userId="48565a57b1029db5" providerId="LiveId" clId="{7CA25D5E-FB76-42DE-8B2D-F3CD5663D813}" dt="2023-04-24T14:45:15.187" v="8111" actId="478"/>
          <ac:spMkLst>
            <pc:docMk/>
            <pc:sldMk cId="0" sldId="2147470875"/>
            <ac:spMk id="378" creationId="{00000000-0000-0000-0000-000000000000}"/>
          </ac:spMkLst>
        </pc:spChg>
      </pc:sldChg>
      <pc:sldChg chg="addSp delSp modSp new mod">
        <pc:chgData name="Ashish Mahajan" userId="48565a57b1029db5" providerId="LiveId" clId="{7CA25D5E-FB76-42DE-8B2D-F3CD5663D813}" dt="2023-04-24T14:40:53.207" v="8069"/>
        <pc:sldMkLst>
          <pc:docMk/>
          <pc:sldMk cId="3784432387" sldId="2147470876"/>
        </pc:sldMkLst>
        <pc:spChg chg="del">
          <ac:chgData name="Ashish Mahajan" userId="48565a57b1029db5" providerId="LiveId" clId="{7CA25D5E-FB76-42DE-8B2D-F3CD5663D813}" dt="2023-04-23T18:47:36.432" v="105" actId="478"/>
          <ac:spMkLst>
            <pc:docMk/>
            <pc:sldMk cId="3784432387" sldId="2147470876"/>
            <ac:spMk id="2" creationId="{E986529B-3932-C796-ED00-7861DBAA8525}"/>
          </ac:spMkLst>
        </pc:spChg>
        <pc:spChg chg="mod">
          <ac:chgData name="Ashish Mahajan" userId="48565a57b1029db5" providerId="LiveId" clId="{7CA25D5E-FB76-42DE-8B2D-F3CD5663D813}" dt="2023-04-24T14:40:53.207" v="8069"/>
          <ac:spMkLst>
            <pc:docMk/>
            <pc:sldMk cId="3784432387" sldId="2147470876"/>
            <ac:spMk id="3" creationId="{741C8CB2-96E1-3D1A-1F64-BBBE6F886733}"/>
          </ac:spMkLst>
        </pc:spChg>
        <pc:spChg chg="add del mod">
          <ac:chgData name="Ashish Mahajan" userId="48565a57b1029db5" providerId="LiveId" clId="{7CA25D5E-FB76-42DE-8B2D-F3CD5663D813}" dt="2023-04-24T09:40:34.164" v="3817" actId="478"/>
          <ac:spMkLst>
            <pc:docMk/>
            <pc:sldMk cId="3784432387" sldId="2147470876"/>
            <ac:spMk id="6" creationId="{F5089218-A75A-283B-4744-E2A7F7B3EF2A}"/>
          </ac:spMkLst>
        </pc:spChg>
        <pc:spChg chg="add mod">
          <ac:chgData name="Ashish Mahajan" userId="48565a57b1029db5" providerId="LiveId" clId="{7CA25D5E-FB76-42DE-8B2D-F3CD5663D813}" dt="2023-04-24T09:44:11.356" v="4118" actId="20577"/>
          <ac:spMkLst>
            <pc:docMk/>
            <pc:sldMk cId="3784432387" sldId="2147470876"/>
            <ac:spMk id="11" creationId="{A48B3FDA-6C6F-7125-39E8-4FC54B1E1EDB}"/>
          </ac:spMkLst>
        </pc:spChg>
        <pc:graphicFrameChg chg="add del mod modGraphic">
          <ac:chgData name="Ashish Mahajan" userId="48565a57b1029db5" providerId="LiveId" clId="{7CA25D5E-FB76-42DE-8B2D-F3CD5663D813}" dt="2023-04-24T09:15:27.130" v="3783" actId="478"/>
          <ac:graphicFrameMkLst>
            <pc:docMk/>
            <pc:sldMk cId="3784432387" sldId="2147470876"/>
            <ac:graphicFrameMk id="4" creationId="{2F3D23F2-27FA-9810-CF53-013CFB021DB1}"/>
          </ac:graphicFrameMkLst>
        </pc:graphicFrameChg>
        <pc:graphicFrameChg chg="add del mod">
          <ac:chgData name="Ashish Mahajan" userId="48565a57b1029db5" providerId="LiveId" clId="{7CA25D5E-FB76-42DE-8B2D-F3CD5663D813}" dt="2023-04-24T09:31:45.286" v="3785"/>
          <ac:graphicFrameMkLst>
            <pc:docMk/>
            <pc:sldMk cId="3784432387" sldId="2147470876"/>
            <ac:graphicFrameMk id="7" creationId="{2FFBF262-5DDA-237B-DAD4-8FFD6A742056}"/>
          </ac:graphicFrameMkLst>
        </pc:graphicFrameChg>
        <pc:graphicFrameChg chg="add del mod modGraphic">
          <ac:chgData name="Ashish Mahajan" userId="48565a57b1029db5" providerId="LiveId" clId="{7CA25D5E-FB76-42DE-8B2D-F3CD5663D813}" dt="2023-04-24T09:36:46.476" v="3799" actId="478"/>
          <ac:graphicFrameMkLst>
            <pc:docMk/>
            <pc:sldMk cId="3784432387" sldId="2147470876"/>
            <ac:graphicFrameMk id="8" creationId="{F37F470B-6DF1-643B-2FA9-0DA8CC6BD056}"/>
          </ac:graphicFrameMkLst>
        </pc:graphicFrameChg>
        <pc:picChg chg="add del">
          <ac:chgData name="Ashish Mahajan" userId="48565a57b1029db5" providerId="LiveId" clId="{7CA25D5E-FB76-42DE-8B2D-F3CD5663D813}" dt="2023-04-24T09:14:52.871" v="3775" actId="478"/>
          <ac:picMkLst>
            <pc:docMk/>
            <pc:sldMk cId="3784432387" sldId="2147470876"/>
            <ac:picMk id="2" creationId="{E29C5C66-8917-AD04-F969-2684EECEBD63}"/>
          </ac:picMkLst>
        </pc:picChg>
        <pc:picChg chg="add mod modCrop">
          <ac:chgData name="Ashish Mahajan" userId="48565a57b1029db5" providerId="LiveId" clId="{7CA25D5E-FB76-42DE-8B2D-F3CD5663D813}" dt="2023-04-24T10:19:27.540" v="4473" actId="208"/>
          <ac:picMkLst>
            <pc:docMk/>
            <pc:sldMk cId="3784432387" sldId="2147470876"/>
            <ac:picMk id="5" creationId="{BBCCC977-E972-506F-DD62-169DB9341E33}"/>
          </ac:picMkLst>
        </pc:picChg>
        <pc:picChg chg="add del">
          <ac:chgData name="Ashish Mahajan" userId="48565a57b1029db5" providerId="LiveId" clId="{7CA25D5E-FB76-42DE-8B2D-F3CD5663D813}" dt="2023-04-24T09:36:51.475" v="3801"/>
          <ac:picMkLst>
            <pc:docMk/>
            <pc:sldMk cId="3784432387" sldId="2147470876"/>
            <ac:picMk id="9" creationId="{7CF63C3F-E09D-2656-6EC8-05C5AA63B817}"/>
          </ac:picMkLst>
        </pc:picChg>
        <pc:picChg chg="add mod">
          <ac:chgData name="Ashish Mahajan" userId="48565a57b1029db5" providerId="LiveId" clId="{7CA25D5E-FB76-42DE-8B2D-F3CD5663D813}" dt="2023-04-24T09:40:21.474" v="3815" actId="1076"/>
          <ac:picMkLst>
            <pc:docMk/>
            <pc:sldMk cId="3784432387" sldId="2147470876"/>
            <ac:picMk id="10" creationId="{EDCFDC12-9063-EF36-5D16-39AE503458F3}"/>
          </ac:picMkLst>
        </pc:picChg>
      </pc:sldChg>
      <pc:sldChg chg="addSp delSp modSp add mod modClrScheme chgLayout">
        <pc:chgData name="Ashish Mahajan" userId="48565a57b1029db5" providerId="LiveId" clId="{7CA25D5E-FB76-42DE-8B2D-F3CD5663D813}" dt="2023-04-24T14:44:38.578" v="8106" actId="700"/>
        <pc:sldMkLst>
          <pc:docMk/>
          <pc:sldMk cId="1710670896" sldId="2147470877"/>
        </pc:sldMkLst>
        <pc:spChg chg="mod ord">
          <ac:chgData name="Ashish Mahajan" userId="48565a57b1029db5" providerId="LiveId" clId="{7CA25D5E-FB76-42DE-8B2D-F3CD5663D813}" dt="2023-04-24T14:44:38.578" v="8106" actId="700"/>
          <ac:spMkLst>
            <pc:docMk/>
            <pc:sldMk cId="1710670896" sldId="2147470877"/>
            <ac:spMk id="2" creationId="{D8469D94-9C48-43CF-AAE1-DBF0D2BF4F69}"/>
          </ac:spMkLst>
        </pc:spChg>
        <pc:spChg chg="add del mod ord">
          <ac:chgData name="Ashish Mahajan" userId="48565a57b1029db5" providerId="LiveId" clId="{7CA25D5E-FB76-42DE-8B2D-F3CD5663D813}" dt="2023-04-24T14:44:29.781" v="8104" actId="700"/>
          <ac:spMkLst>
            <pc:docMk/>
            <pc:sldMk cId="1710670896" sldId="2147470877"/>
            <ac:spMk id="3" creationId="{B1BCB727-C430-665B-7EBA-AC760AF2AFC4}"/>
          </ac:spMkLst>
        </pc:spChg>
        <pc:spChg chg="add del mod ord">
          <ac:chgData name="Ashish Mahajan" userId="48565a57b1029db5" providerId="LiveId" clId="{7CA25D5E-FB76-42DE-8B2D-F3CD5663D813}" dt="2023-04-24T14:44:38.578" v="8106" actId="700"/>
          <ac:spMkLst>
            <pc:docMk/>
            <pc:sldMk cId="1710670896" sldId="2147470877"/>
            <ac:spMk id="4" creationId="{62D52F33-819F-1410-31B4-0F52BED4E423}"/>
          </ac:spMkLst>
        </pc:spChg>
        <pc:spChg chg="add del mod ord">
          <ac:chgData name="Ashish Mahajan" userId="48565a57b1029db5" providerId="LiveId" clId="{7CA25D5E-FB76-42DE-8B2D-F3CD5663D813}" dt="2023-04-24T14:44:38.578" v="8106" actId="700"/>
          <ac:spMkLst>
            <pc:docMk/>
            <pc:sldMk cId="1710670896" sldId="2147470877"/>
            <ac:spMk id="6" creationId="{FFACF317-808B-1195-0EBD-BEA421268F63}"/>
          </ac:spMkLst>
        </pc:spChg>
        <pc:spChg chg="mod">
          <ac:chgData name="Ashish Mahajan" userId="48565a57b1029db5" providerId="LiveId" clId="{7CA25D5E-FB76-42DE-8B2D-F3CD5663D813}" dt="2023-04-24T06:17:52.393" v="874" actId="20577"/>
          <ac:spMkLst>
            <pc:docMk/>
            <pc:sldMk cId="1710670896" sldId="2147470877"/>
            <ac:spMk id="14" creationId="{66122E33-DFEB-43FE-B1AC-1E9BCFF28CCF}"/>
          </ac:spMkLst>
        </pc:spChg>
        <pc:spChg chg="del">
          <ac:chgData name="Ashish Mahajan" userId="48565a57b1029db5" providerId="LiveId" clId="{7CA25D5E-FB76-42DE-8B2D-F3CD5663D813}" dt="2023-04-24T05:44:09.354" v="180" actId="478"/>
          <ac:spMkLst>
            <pc:docMk/>
            <pc:sldMk cId="1710670896" sldId="2147470877"/>
            <ac:spMk id="19" creationId="{1876BBBF-58AC-4C16-B585-0A61062CE442}"/>
          </ac:spMkLst>
        </pc:spChg>
        <pc:spChg chg="del">
          <ac:chgData name="Ashish Mahajan" userId="48565a57b1029db5" providerId="LiveId" clId="{7CA25D5E-FB76-42DE-8B2D-F3CD5663D813}" dt="2023-04-24T05:44:09.354" v="180" actId="478"/>
          <ac:spMkLst>
            <pc:docMk/>
            <pc:sldMk cId="1710670896" sldId="2147470877"/>
            <ac:spMk id="20" creationId="{AE125C88-CF2A-40DE-91FF-58408E8AB3E9}"/>
          </ac:spMkLst>
        </pc:spChg>
        <pc:spChg chg="del">
          <ac:chgData name="Ashish Mahajan" userId="48565a57b1029db5" providerId="LiveId" clId="{7CA25D5E-FB76-42DE-8B2D-F3CD5663D813}" dt="2023-04-24T05:44:09.354" v="180" actId="478"/>
          <ac:spMkLst>
            <pc:docMk/>
            <pc:sldMk cId="1710670896" sldId="2147470877"/>
            <ac:spMk id="21" creationId="{40B2A3E7-82FC-472A-95EC-2472407D3898}"/>
          </ac:spMkLst>
        </pc:spChg>
        <pc:spChg chg="del">
          <ac:chgData name="Ashish Mahajan" userId="48565a57b1029db5" providerId="LiveId" clId="{7CA25D5E-FB76-42DE-8B2D-F3CD5663D813}" dt="2023-04-24T05:44:09.354" v="180" actId="478"/>
          <ac:spMkLst>
            <pc:docMk/>
            <pc:sldMk cId="1710670896" sldId="2147470877"/>
            <ac:spMk id="24" creationId="{E3554944-4ADA-425A-B340-4C9092BECA41}"/>
          </ac:spMkLst>
        </pc:spChg>
        <pc:spChg chg="del">
          <ac:chgData name="Ashish Mahajan" userId="48565a57b1029db5" providerId="LiveId" clId="{7CA25D5E-FB76-42DE-8B2D-F3CD5663D813}" dt="2023-04-24T05:44:09.354" v="180" actId="478"/>
          <ac:spMkLst>
            <pc:docMk/>
            <pc:sldMk cId="1710670896" sldId="2147470877"/>
            <ac:spMk id="27" creationId="{2659B1BE-2CA4-4E72-9F79-C4CC384AF878}"/>
          </ac:spMkLst>
        </pc:spChg>
        <pc:spChg chg="add mod">
          <ac:chgData name="Ashish Mahajan" userId="48565a57b1029db5" providerId="LiveId" clId="{7CA25D5E-FB76-42DE-8B2D-F3CD5663D813}" dt="2023-04-24T06:09:23.447" v="380" actId="1035"/>
          <ac:spMkLst>
            <pc:docMk/>
            <pc:sldMk cId="1710670896" sldId="2147470877"/>
            <ac:spMk id="28" creationId="{FADA38AD-B58E-2247-1A39-39B7E19088D6}"/>
          </ac:spMkLst>
        </pc:spChg>
        <pc:spChg chg="add mod">
          <ac:chgData name="Ashish Mahajan" userId="48565a57b1029db5" providerId="LiveId" clId="{7CA25D5E-FB76-42DE-8B2D-F3CD5663D813}" dt="2023-04-24T08:22:09.221" v="2656" actId="14100"/>
          <ac:spMkLst>
            <pc:docMk/>
            <pc:sldMk cId="1710670896" sldId="2147470877"/>
            <ac:spMk id="33" creationId="{980B949F-172B-51AA-768D-D8E172082E69}"/>
          </ac:spMkLst>
        </pc:spChg>
        <pc:spChg chg="add mod">
          <ac:chgData name="Ashish Mahajan" userId="48565a57b1029db5" providerId="LiveId" clId="{7CA25D5E-FB76-42DE-8B2D-F3CD5663D813}" dt="2023-04-24T08:21:36.461" v="2655" actId="403"/>
          <ac:spMkLst>
            <pc:docMk/>
            <pc:sldMk cId="1710670896" sldId="2147470877"/>
            <ac:spMk id="34" creationId="{0E9116F9-47CA-0735-FB36-718AB443B8AE}"/>
          </ac:spMkLst>
        </pc:spChg>
        <pc:spChg chg="del">
          <ac:chgData name="Ashish Mahajan" userId="48565a57b1029db5" providerId="LiveId" clId="{7CA25D5E-FB76-42DE-8B2D-F3CD5663D813}" dt="2023-04-24T05:44:09.354" v="180" actId="478"/>
          <ac:spMkLst>
            <pc:docMk/>
            <pc:sldMk cId="1710670896" sldId="2147470877"/>
            <ac:spMk id="47" creationId="{D8DD7DE0-7967-49D2-984A-3717EF61FAE3}"/>
          </ac:spMkLst>
        </pc:spChg>
        <pc:spChg chg="del">
          <ac:chgData name="Ashish Mahajan" userId="48565a57b1029db5" providerId="LiveId" clId="{7CA25D5E-FB76-42DE-8B2D-F3CD5663D813}" dt="2023-04-24T05:44:09.354" v="180" actId="478"/>
          <ac:spMkLst>
            <pc:docMk/>
            <pc:sldMk cId="1710670896" sldId="2147470877"/>
            <ac:spMk id="48" creationId="{979DC97F-0FC9-4671-9563-276A2EAD79DE}"/>
          </ac:spMkLst>
        </pc:spChg>
        <pc:spChg chg="del">
          <ac:chgData name="Ashish Mahajan" userId="48565a57b1029db5" providerId="LiveId" clId="{7CA25D5E-FB76-42DE-8B2D-F3CD5663D813}" dt="2023-04-24T05:44:09.354" v="180" actId="478"/>
          <ac:spMkLst>
            <pc:docMk/>
            <pc:sldMk cId="1710670896" sldId="2147470877"/>
            <ac:spMk id="49" creationId="{DC94D90D-577D-4BAD-8803-152E6743E467}"/>
          </ac:spMkLst>
        </pc:spChg>
        <pc:spChg chg="del">
          <ac:chgData name="Ashish Mahajan" userId="48565a57b1029db5" providerId="LiveId" clId="{7CA25D5E-FB76-42DE-8B2D-F3CD5663D813}" dt="2023-04-24T05:44:09.354" v="180" actId="478"/>
          <ac:spMkLst>
            <pc:docMk/>
            <pc:sldMk cId="1710670896" sldId="2147470877"/>
            <ac:spMk id="50" creationId="{903CF670-35AF-4CEB-AEE0-E9CD2804DF05}"/>
          </ac:spMkLst>
        </pc:spChg>
        <pc:spChg chg="del">
          <ac:chgData name="Ashish Mahajan" userId="48565a57b1029db5" providerId="LiveId" clId="{7CA25D5E-FB76-42DE-8B2D-F3CD5663D813}" dt="2023-04-24T05:44:09.354" v="180" actId="478"/>
          <ac:spMkLst>
            <pc:docMk/>
            <pc:sldMk cId="1710670896" sldId="2147470877"/>
            <ac:spMk id="51" creationId="{70B165D0-654C-47CD-B6E6-AAF007B69D3E}"/>
          </ac:spMkLst>
        </pc:spChg>
        <pc:spChg chg="del">
          <ac:chgData name="Ashish Mahajan" userId="48565a57b1029db5" providerId="LiveId" clId="{7CA25D5E-FB76-42DE-8B2D-F3CD5663D813}" dt="2023-04-24T05:44:09.354" v="180" actId="478"/>
          <ac:spMkLst>
            <pc:docMk/>
            <pc:sldMk cId="1710670896" sldId="2147470877"/>
            <ac:spMk id="52" creationId="{B1D36E28-8AF4-4613-8062-AD6FDADA40BE}"/>
          </ac:spMkLst>
        </pc:spChg>
        <pc:spChg chg="del">
          <ac:chgData name="Ashish Mahajan" userId="48565a57b1029db5" providerId="LiveId" clId="{7CA25D5E-FB76-42DE-8B2D-F3CD5663D813}" dt="2023-04-24T05:44:09.354" v="180" actId="478"/>
          <ac:spMkLst>
            <pc:docMk/>
            <pc:sldMk cId="1710670896" sldId="2147470877"/>
            <ac:spMk id="54" creationId="{B9786672-AD72-4A6D-AEB6-59F4A19C50EE}"/>
          </ac:spMkLst>
        </pc:spChg>
        <pc:spChg chg="del">
          <ac:chgData name="Ashish Mahajan" userId="48565a57b1029db5" providerId="LiveId" clId="{7CA25D5E-FB76-42DE-8B2D-F3CD5663D813}" dt="2023-04-24T05:44:09.354" v="180" actId="478"/>
          <ac:spMkLst>
            <pc:docMk/>
            <pc:sldMk cId="1710670896" sldId="2147470877"/>
            <ac:spMk id="58" creationId="{BB12CB8C-351F-4672-AACB-6783335B256C}"/>
          </ac:spMkLst>
        </pc:spChg>
        <pc:grpChg chg="add mod">
          <ac:chgData name="Ashish Mahajan" userId="48565a57b1029db5" providerId="LiveId" clId="{7CA25D5E-FB76-42DE-8B2D-F3CD5663D813}" dt="2023-04-24T06:00:01.943" v="298" actId="1037"/>
          <ac:grpSpMkLst>
            <pc:docMk/>
            <pc:sldMk cId="1710670896" sldId="2147470877"/>
            <ac:grpSpMk id="12" creationId="{5DB2EA6B-FA1E-B840-FC0B-0CA9C7E24682}"/>
          </ac:grpSpMkLst>
        </pc:grpChg>
        <pc:grpChg chg="add mod">
          <ac:chgData name="Ashish Mahajan" userId="48565a57b1029db5" providerId="LiveId" clId="{7CA25D5E-FB76-42DE-8B2D-F3CD5663D813}" dt="2023-04-24T06:01:56.550" v="347" actId="1035"/>
          <ac:grpSpMkLst>
            <pc:docMk/>
            <pc:sldMk cId="1710670896" sldId="2147470877"/>
            <ac:grpSpMk id="22" creationId="{5D9D1972-4981-2000-8D25-6ACA4E7E286D}"/>
          </ac:grpSpMkLst>
        </pc:grpChg>
        <pc:graphicFrameChg chg="del">
          <ac:chgData name="Ashish Mahajan" userId="48565a57b1029db5" providerId="LiveId" clId="{7CA25D5E-FB76-42DE-8B2D-F3CD5663D813}" dt="2023-04-24T05:44:09.354" v="180" actId="478"/>
          <ac:graphicFrameMkLst>
            <pc:docMk/>
            <pc:sldMk cId="1710670896" sldId="2147470877"/>
            <ac:graphicFrameMk id="44" creationId="{C7050BEA-753B-4201-BD09-DB55B72E90DC}"/>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45" creationId="{97A22294-BC4D-4B0C-9782-69BAB76D368D}"/>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46" creationId="{E18714C1-C44F-4FFD-B8F0-44AD14AC49F0}"/>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55" creationId="{831096CC-BCE1-4722-9A3B-7F9E9600A679}"/>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56" creationId="{8F740D50-BB51-45B1-9BB8-854D4E9EC0FF}"/>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57" creationId="{9B758105-1461-4598-AEC8-C3B0CCACB338}"/>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60" creationId="{915A5881-2084-4926-80B2-46A9D6B74E3F}"/>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62" creationId="{8E9D707E-38B6-4E43-A772-081666FCDF38}"/>
          </ac:graphicFrameMkLst>
        </pc:graphicFrameChg>
        <pc:graphicFrameChg chg="del">
          <ac:chgData name="Ashish Mahajan" userId="48565a57b1029db5" providerId="LiveId" clId="{7CA25D5E-FB76-42DE-8B2D-F3CD5663D813}" dt="2023-04-24T05:44:09.354" v="180" actId="478"/>
          <ac:graphicFrameMkLst>
            <pc:docMk/>
            <pc:sldMk cId="1710670896" sldId="2147470877"/>
            <ac:graphicFrameMk id="63" creationId="{32DC82A8-B8DE-40AD-BAD2-D8CA1D610D30}"/>
          </ac:graphicFrameMkLst>
        </pc:graphicFrameChg>
        <pc:picChg chg="add del mod modCrop">
          <ac:chgData name="Ashish Mahajan" userId="48565a57b1029db5" providerId="LiveId" clId="{7CA25D5E-FB76-42DE-8B2D-F3CD5663D813}" dt="2023-04-24T05:48:43.953" v="192" actId="478"/>
          <ac:picMkLst>
            <pc:docMk/>
            <pc:sldMk cId="1710670896" sldId="2147470877"/>
            <ac:picMk id="4" creationId="{295E6BC8-E155-65D8-80C5-1EE25A2EC573}"/>
          </ac:picMkLst>
        </pc:picChg>
        <pc:picChg chg="add mod modCrop">
          <ac:chgData name="Ashish Mahajan" userId="48565a57b1029db5" providerId="LiveId" clId="{7CA25D5E-FB76-42DE-8B2D-F3CD5663D813}" dt="2023-04-24T05:59:55.594" v="287" actId="732"/>
          <ac:picMkLst>
            <pc:docMk/>
            <pc:sldMk cId="1710670896" sldId="2147470877"/>
            <ac:picMk id="7" creationId="{10DF4DFA-41E0-8BF5-BF23-C00CCC6E948B}"/>
          </ac:picMkLst>
        </pc:picChg>
        <pc:picChg chg="add mod modCrop">
          <ac:chgData name="Ashish Mahajan" userId="48565a57b1029db5" providerId="LiveId" clId="{7CA25D5E-FB76-42DE-8B2D-F3CD5663D813}" dt="2023-04-24T05:53:53.538" v="225" actId="164"/>
          <ac:picMkLst>
            <pc:docMk/>
            <pc:sldMk cId="1710670896" sldId="2147470877"/>
            <ac:picMk id="9" creationId="{C8C2A750-CB32-56D0-CCB3-1BDE5656DB2B}"/>
          </ac:picMkLst>
        </pc:picChg>
        <pc:picChg chg="add del mod modCrop">
          <ac:chgData name="Ashish Mahajan" userId="48565a57b1029db5" providerId="LiveId" clId="{7CA25D5E-FB76-42DE-8B2D-F3CD5663D813}" dt="2023-04-24T06:08:15.472" v="365" actId="478"/>
          <ac:picMkLst>
            <pc:docMk/>
            <pc:sldMk cId="1710670896" sldId="2147470877"/>
            <ac:picMk id="11" creationId="{CD7BC621-ED60-F247-2133-D127266E53FE}"/>
          </ac:picMkLst>
        </pc:picChg>
        <pc:picChg chg="add mod modCrop">
          <ac:chgData name="Ashish Mahajan" userId="48565a57b1029db5" providerId="LiveId" clId="{7CA25D5E-FB76-42DE-8B2D-F3CD5663D813}" dt="2023-04-24T06:01:37.273" v="334" actId="164"/>
          <ac:picMkLst>
            <pc:docMk/>
            <pc:sldMk cId="1710670896" sldId="2147470877"/>
            <ac:picMk id="16" creationId="{A534C10F-9086-967E-F1D9-2A234C7B9BEE}"/>
          </ac:picMkLst>
        </pc:picChg>
        <pc:picChg chg="add mod modCrop">
          <ac:chgData name="Ashish Mahajan" userId="48565a57b1029db5" providerId="LiveId" clId="{7CA25D5E-FB76-42DE-8B2D-F3CD5663D813}" dt="2023-04-24T06:01:37.273" v="334" actId="164"/>
          <ac:picMkLst>
            <pc:docMk/>
            <pc:sldMk cId="1710670896" sldId="2147470877"/>
            <ac:picMk id="18" creationId="{3864CD08-6484-8174-382D-5D5F74599104}"/>
          </ac:picMkLst>
        </pc:picChg>
        <pc:picChg chg="add mod modCrop">
          <ac:chgData name="Ashish Mahajan" userId="48565a57b1029db5" providerId="LiveId" clId="{7CA25D5E-FB76-42DE-8B2D-F3CD5663D813}" dt="2023-04-24T06:08:33.477" v="369" actId="1076"/>
          <ac:picMkLst>
            <pc:docMk/>
            <pc:sldMk cId="1710670896" sldId="2147470877"/>
            <ac:picMk id="23" creationId="{CDDDAF45-6101-2BB7-3C62-CC0542C817B9}"/>
          </ac:picMkLst>
        </pc:picChg>
        <pc:picChg chg="add mod modCrop">
          <ac:chgData name="Ashish Mahajan" userId="48565a57b1029db5" providerId="LiveId" clId="{7CA25D5E-FB76-42DE-8B2D-F3CD5663D813}" dt="2023-04-24T06:08:40.509" v="371" actId="1076"/>
          <ac:picMkLst>
            <pc:docMk/>
            <pc:sldMk cId="1710670896" sldId="2147470877"/>
            <ac:picMk id="26" creationId="{74EE997F-D793-8314-F17A-DCDCC333DBBE}"/>
          </ac:picMkLst>
        </pc:picChg>
        <pc:cxnChg chg="add mod">
          <ac:chgData name="Ashish Mahajan" userId="48565a57b1029db5" providerId="LiveId" clId="{7CA25D5E-FB76-42DE-8B2D-F3CD5663D813}" dt="2023-04-24T06:11:24.908" v="418" actId="208"/>
          <ac:cxnSpMkLst>
            <pc:docMk/>
            <pc:sldMk cId="1710670896" sldId="2147470877"/>
            <ac:cxnSpMk id="30" creationId="{50A51C88-91BA-FA55-8E4A-E150F997905D}"/>
          </ac:cxnSpMkLst>
        </pc:cxnChg>
        <pc:cxnChg chg="add mod">
          <ac:chgData name="Ashish Mahajan" userId="48565a57b1029db5" providerId="LiveId" clId="{7CA25D5E-FB76-42DE-8B2D-F3CD5663D813}" dt="2023-04-24T06:10:08.445" v="411" actId="208"/>
          <ac:cxnSpMkLst>
            <pc:docMk/>
            <pc:sldMk cId="1710670896" sldId="2147470877"/>
            <ac:cxnSpMk id="32" creationId="{24BD4B84-B2B4-2AA6-C7EB-5BD4803348F8}"/>
          </ac:cxnSpMkLst>
        </pc:cxnChg>
      </pc:sldChg>
      <pc:sldChg chg="add del">
        <pc:chgData name="Ashish Mahajan" userId="48565a57b1029db5" providerId="LiveId" clId="{7CA25D5E-FB76-42DE-8B2D-F3CD5663D813}" dt="2023-04-24T07:07:28.560" v="1913" actId="47"/>
        <pc:sldMkLst>
          <pc:docMk/>
          <pc:sldMk cId="4227497080" sldId="2147470878"/>
        </pc:sldMkLst>
      </pc:sldChg>
      <pc:sldChg chg="addSp delSp modSp add mod ord">
        <pc:chgData name="Ashish Mahajan" userId="48565a57b1029db5" providerId="LiveId" clId="{7CA25D5E-FB76-42DE-8B2D-F3CD5663D813}" dt="2023-04-24T08:22:52.333" v="2671" actId="404"/>
        <pc:sldMkLst>
          <pc:docMk/>
          <pc:sldMk cId="3565818949" sldId="2147470879"/>
        </pc:sldMkLst>
        <pc:spChg chg="mod">
          <ac:chgData name="Ashish Mahajan" userId="48565a57b1029db5" providerId="LiveId" clId="{7CA25D5E-FB76-42DE-8B2D-F3CD5663D813}" dt="2023-04-24T06:42:34.065" v="1324" actId="14100"/>
          <ac:spMkLst>
            <pc:docMk/>
            <pc:sldMk cId="3565818949" sldId="2147470879"/>
            <ac:spMk id="2" creationId="{D8469D94-9C48-43CF-AAE1-DBF0D2BF4F69}"/>
          </ac:spMkLst>
        </pc:spChg>
        <pc:spChg chg="add mod ord">
          <ac:chgData name="Ashish Mahajan" userId="48565a57b1029db5" providerId="LiveId" clId="{7CA25D5E-FB76-42DE-8B2D-F3CD5663D813}" dt="2023-04-24T07:04:21.844" v="1731" actId="165"/>
          <ac:spMkLst>
            <pc:docMk/>
            <pc:sldMk cId="3565818949" sldId="2147470879"/>
            <ac:spMk id="8" creationId="{C2A92D8B-05A9-AD0D-B67D-F7238D8392C5}"/>
          </ac:spMkLst>
        </pc:spChg>
        <pc:spChg chg="add del mod">
          <ac:chgData name="Ashish Mahajan" userId="48565a57b1029db5" providerId="LiveId" clId="{7CA25D5E-FB76-42DE-8B2D-F3CD5663D813}" dt="2023-04-24T06:30:13.279" v="965"/>
          <ac:spMkLst>
            <pc:docMk/>
            <pc:sldMk cId="3565818949" sldId="2147470879"/>
            <ac:spMk id="9" creationId="{AB8EA54F-950F-523D-FE3C-467AF5A3D63F}"/>
          </ac:spMkLst>
        </pc:spChg>
        <pc:spChg chg="mod">
          <ac:chgData name="Ashish Mahajan" userId="48565a57b1029db5" providerId="LiveId" clId="{7CA25D5E-FB76-42DE-8B2D-F3CD5663D813}" dt="2023-04-24T08:22:52.333" v="2671" actId="404"/>
          <ac:spMkLst>
            <pc:docMk/>
            <pc:sldMk cId="3565818949" sldId="2147470879"/>
            <ac:spMk id="14" creationId="{66122E33-DFEB-43FE-B1AC-1E9BCFF28CCF}"/>
          </ac:spMkLst>
        </pc:spChg>
        <pc:spChg chg="del">
          <ac:chgData name="Ashish Mahajan" userId="48565a57b1029db5" providerId="LiveId" clId="{7CA25D5E-FB76-42DE-8B2D-F3CD5663D813}" dt="2023-04-24T06:28:12.028" v="917" actId="478"/>
          <ac:spMkLst>
            <pc:docMk/>
            <pc:sldMk cId="3565818949" sldId="2147470879"/>
            <ac:spMk id="17" creationId="{C772297C-85B6-4656-A2C0-4CDDC05C6638}"/>
          </ac:spMkLst>
        </pc:spChg>
        <pc:spChg chg="del">
          <ac:chgData name="Ashish Mahajan" userId="48565a57b1029db5" providerId="LiveId" clId="{7CA25D5E-FB76-42DE-8B2D-F3CD5663D813}" dt="2023-04-24T06:28:18.685" v="919" actId="478"/>
          <ac:spMkLst>
            <pc:docMk/>
            <pc:sldMk cId="3565818949" sldId="2147470879"/>
            <ac:spMk id="18" creationId="{CFE09E83-8BF1-4496-8AF1-D8D9025BFF26}"/>
          </ac:spMkLst>
        </pc:spChg>
        <pc:spChg chg="add del mod">
          <ac:chgData name="Ashish Mahajan" userId="48565a57b1029db5" providerId="LiveId" clId="{7CA25D5E-FB76-42DE-8B2D-F3CD5663D813}" dt="2023-04-24T07:04:07.348" v="1730" actId="478"/>
          <ac:spMkLst>
            <pc:docMk/>
            <pc:sldMk cId="3565818949" sldId="2147470879"/>
            <ac:spMk id="19" creationId="{1876BBBF-58AC-4C16-B585-0A61062CE442}"/>
          </ac:spMkLst>
        </pc:spChg>
        <pc:spChg chg="del mod">
          <ac:chgData name="Ashish Mahajan" userId="48565a57b1029db5" providerId="LiveId" clId="{7CA25D5E-FB76-42DE-8B2D-F3CD5663D813}" dt="2023-04-24T07:04:54.081" v="1734" actId="478"/>
          <ac:spMkLst>
            <pc:docMk/>
            <pc:sldMk cId="3565818949" sldId="2147470879"/>
            <ac:spMk id="20" creationId="{AE125C88-CF2A-40DE-91FF-58408E8AB3E9}"/>
          </ac:spMkLst>
        </pc:spChg>
        <pc:spChg chg="mod">
          <ac:chgData name="Ashish Mahajan" userId="48565a57b1029db5" providerId="LiveId" clId="{7CA25D5E-FB76-42DE-8B2D-F3CD5663D813}" dt="2023-04-24T07:04:21.844" v="1731" actId="165"/>
          <ac:spMkLst>
            <pc:docMk/>
            <pc:sldMk cId="3565818949" sldId="2147470879"/>
            <ac:spMk id="21" creationId="{40B2A3E7-82FC-472A-95EC-2472407D3898}"/>
          </ac:spMkLst>
        </pc:spChg>
        <pc:spChg chg="mod topLvl">
          <ac:chgData name="Ashish Mahajan" userId="48565a57b1029db5" providerId="LiveId" clId="{7CA25D5E-FB76-42DE-8B2D-F3CD5663D813}" dt="2023-04-24T07:04:21.844" v="1731" actId="165"/>
          <ac:spMkLst>
            <pc:docMk/>
            <pc:sldMk cId="3565818949" sldId="2147470879"/>
            <ac:spMk id="24" creationId="{E3554944-4ADA-425A-B340-4C9092BECA41}"/>
          </ac:spMkLst>
        </pc:spChg>
        <pc:spChg chg="del mod topLvl">
          <ac:chgData name="Ashish Mahajan" userId="48565a57b1029db5" providerId="LiveId" clId="{7CA25D5E-FB76-42DE-8B2D-F3CD5663D813}" dt="2023-04-24T06:39:04.585" v="1200" actId="478"/>
          <ac:spMkLst>
            <pc:docMk/>
            <pc:sldMk cId="3565818949" sldId="2147470879"/>
            <ac:spMk id="25" creationId="{BEE70F66-88E6-4F5B-81F6-0C5500298B9C}"/>
          </ac:spMkLst>
        </pc:spChg>
        <pc:spChg chg="del">
          <ac:chgData name="Ashish Mahajan" userId="48565a57b1029db5" providerId="LiveId" clId="{7CA25D5E-FB76-42DE-8B2D-F3CD5663D813}" dt="2023-04-24T06:28:22.806" v="920" actId="478"/>
          <ac:spMkLst>
            <pc:docMk/>
            <pc:sldMk cId="3565818949" sldId="2147470879"/>
            <ac:spMk id="26" creationId="{79049A9E-B57D-4591-8519-B9BF6AB35587}"/>
          </ac:spMkLst>
        </pc:spChg>
        <pc:spChg chg="mod">
          <ac:chgData name="Ashish Mahajan" userId="48565a57b1029db5" providerId="LiveId" clId="{7CA25D5E-FB76-42DE-8B2D-F3CD5663D813}" dt="2023-04-24T07:06:45.446" v="1912" actId="6549"/>
          <ac:spMkLst>
            <pc:docMk/>
            <pc:sldMk cId="3565818949" sldId="2147470879"/>
            <ac:spMk id="27" creationId="{2659B1BE-2CA4-4E72-9F79-C4CC384AF878}"/>
          </ac:spMkLst>
        </pc:spChg>
        <pc:spChg chg="del">
          <ac:chgData name="Ashish Mahajan" userId="48565a57b1029db5" providerId="LiveId" clId="{7CA25D5E-FB76-42DE-8B2D-F3CD5663D813}" dt="2023-04-24T06:28:22.806" v="920" actId="478"/>
          <ac:spMkLst>
            <pc:docMk/>
            <pc:sldMk cId="3565818949" sldId="2147470879"/>
            <ac:spMk id="28" creationId="{FA35971B-CF6D-49C1-B39D-1CA1033A05B7}"/>
          </ac:spMkLst>
        </pc:spChg>
        <pc:spChg chg="del">
          <ac:chgData name="Ashish Mahajan" userId="48565a57b1029db5" providerId="LiveId" clId="{7CA25D5E-FB76-42DE-8B2D-F3CD5663D813}" dt="2023-04-24T06:28:22.806" v="920" actId="478"/>
          <ac:spMkLst>
            <pc:docMk/>
            <pc:sldMk cId="3565818949" sldId="2147470879"/>
            <ac:spMk id="32" creationId="{4296286E-D1F0-412C-BBD6-C023CE96824C}"/>
          </ac:spMkLst>
        </pc:spChg>
        <pc:spChg chg="del">
          <ac:chgData name="Ashish Mahajan" userId="48565a57b1029db5" providerId="LiveId" clId="{7CA25D5E-FB76-42DE-8B2D-F3CD5663D813}" dt="2023-04-24T06:28:22.806" v="920" actId="478"/>
          <ac:spMkLst>
            <pc:docMk/>
            <pc:sldMk cId="3565818949" sldId="2147470879"/>
            <ac:spMk id="33" creationId="{C09042D3-1A4D-4120-BD72-203320BB0558}"/>
          </ac:spMkLst>
        </pc:spChg>
        <pc:spChg chg="del">
          <ac:chgData name="Ashish Mahajan" userId="48565a57b1029db5" providerId="LiveId" clId="{7CA25D5E-FB76-42DE-8B2D-F3CD5663D813}" dt="2023-04-24T06:28:22.806" v="920" actId="478"/>
          <ac:spMkLst>
            <pc:docMk/>
            <pc:sldMk cId="3565818949" sldId="2147470879"/>
            <ac:spMk id="34" creationId="{D77D52BC-FDF6-460C-A434-08E4E8173FE6}"/>
          </ac:spMkLst>
        </pc:spChg>
        <pc:spChg chg="del">
          <ac:chgData name="Ashish Mahajan" userId="48565a57b1029db5" providerId="LiveId" clId="{7CA25D5E-FB76-42DE-8B2D-F3CD5663D813}" dt="2023-04-24T06:28:22.806" v="920" actId="478"/>
          <ac:spMkLst>
            <pc:docMk/>
            <pc:sldMk cId="3565818949" sldId="2147470879"/>
            <ac:spMk id="35" creationId="{7F32B17C-44FC-4F4D-9868-385EC07C33E0}"/>
          </ac:spMkLst>
        </pc:spChg>
        <pc:spChg chg="del">
          <ac:chgData name="Ashish Mahajan" userId="48565a57b1029db5" providerId="LiveId" clId="{7CA25D5E-FB76-42DE-8B2D-F3CD5663D813}" dt="2023-04-24T06:28:22.806" v="920" actId="478"/>
          <ac:spMkLst>
            <pc:docMk/>
            <pc:sldMk cId="3565818949" sldId="2147470879"/>
            <ac:spMk id="36" creationId="{29B1C1F2-8FE8-4E01-BB14-F5428D207E77}"/>
          </ac:spMkLst>
        </pc:spChg>
        <pc:spChg chg="del">
          <ac:chgData name="Ashish Mahajan" userId="48565a57b1029db5" providerId="LiveId" clId="{7CA25D5E-FB76-42DE-8B2D-F3CD5663D813}" dt="2023-04-24T06:28:22.806" v="920" actId="478"/>
          <ac:spMkLst>
            <pc:docMk/>
            <pc:sldMk cId="3565818949" sldId="2147470879"/>
            <ac:spMk id="37" creationId="{87F316F1-55FB-48BE-9C23-982C8AFDAC6F}"/>
          </ac:spMkLst>
        </pc:spChg>
        <pc:spChg chg="del">
          <ac:chgData name="Ashish Mahajan" userId="48565a57b1029db5" providerId="LiveId" clId="{7CA25D5E-FB76-42DE-8B2D-F3CD5663D813}" dt="2023-04-24T06:28:22.806" v="920" actId="478"/>
          <ac:spMkLst>
            <pc:docMk/>
            <pc:sldMk cId="3565818949" sldId="2147470879"/>
            <ac:spMk id="38" creationId="{167A0EBF-5251-4FF7-BFB4-62DCDD6F7D5C}"/>
          </ac:spMkLst>
        </pc:spChg>
        <pc:spChg chg="del">
          <ac:chgData name="Ashish Mahajan" userId="48565a57b1029db5" providerId="LiveId" clId="{7CA25D5E-FB76-42DE-8B2D-F3CD5663D813}" dt="2023-04-24T06:28:22.806" v="920" actId="478"/>
          <ac:spMkLst>
            <pc:docMk/>
            <pc:sldMk cId="3565818949" sldId="2147470879"/>
            <ac:spMk id="39" creationId="{D5569259-983D-4040-8D40-20F82ED0E0EE}"/>
          </ac:spMkLst>
        </pc:spChg>
        <pc:spChg chg="del">
          <ac:chgData name="Ashish Mahajan" userId="48565a57b1029db5" providerId="LiveId" clId="{7CA25D5E-FB76-42DE-8B2D-F3CD5663D813}" dt="2023-04-24T06:28:22.806" v="920" actId="478"/>
          <ac:spMkLst>
            <pc:docMk/>
            <pc:sldMk cId="3565818949" sldId="2147470879"/>
            <ac:spMk id="40" creationId="{D84BC507-112E-49EF-A6FB-F0AFB8FAA44C}"/>
          </ac:spMkLst>
        </pc:spChg>
        <pc:spChg chg="del">
          <ac:chgData name="Ashish Mahajan" userId="48565a57b1029db5" providerId="LiveId" clId="{7CA25D5E-FB76-42DE-8B2D-F3CD5663D813}" dt="2023-04-24T06:28:22.806" v="920" actId="478"/>
          <ac:spMkLst>
            <pc:docMk/>
            <pc:sldMk cId="3565818949" sldId="2147470879"/>
            <ac:spMk id="41" creationId="{167A43E0-4A97-41A3-89BA-995C2A4E4C82}"/>
          </ac:spMkLst>
        </pc:spChg>
        <pc:spChg chg="del">
          <ac:chgData name="Ashish Mahajan" userId="48565a57b1029db5" providerId="LiveId" clId="{7CA25D5E-FB76-42DE-8B2D-F3CD5663D813}" dt="2023-04-24T06:28:22.806" v="920" actId="478"/>
          <ac:spMkLst>
            <pc:docMk/>
            <pc:sldMk cId="3565818949" sldId="2147470879"/>
            <ac:spMk id="42" creationId="{5CBEBF71-9746-454A-B7E1-9497DDB25FB5}"/>
          </ac:spMkLst>
        </pc:spChg>
        <pc:spChg chg="del">
          <ac:chgData name="Ashish Mahajan" userId="48565a57b1029db5" providerId="LiveId" clId="{7CA25D5E-FB76-42DE-8B2D-F3CD5663D813}" dt="2023-04-24T06:28:22.806" v="920" actId="478"/>
          <ac:spMkLst>
            <pc:docMk/>
            <pc:sldMk cId="3565818949" sldId="2147470879"/>
            <ac:spMk id="43" creationId="{720FAA20-AB35-4C33-B8C3-1CB3BA93980D}"/>
          </ac:spMkLst>
        </pc:spChg>
        <pc:spChg chg="del mod">
          <ac:chgData name="Ashish Mahajan" userId="48565a57b1029db5" providerId="LiveId" clId="{7CA25D5E-FB76-42DE-8B2D-F3CD5663D813}" dt="2023-04-24T07:04:57.789" v="1735" actId="478"/>
          <ac:spMkLst>
            <pc:docMk/>
            <pc:sldMk cId="3565818949" sldId="2147470879"/>
            <ac:spMk id="54" creationId="{B9786672-AD72-4A6D-AEB6-59F4A19C50EE}"/>
          </ac:spMkLst>
        </pc:spChg>
        <pc:grpChg chg="add del mod topLvl">
          <ac:chgData name="Ashish Mahajan" userId="48565a57b1029db5" providerId="LiveId" clId="{7CA25D5E-FB76-42DE-8B2D-F3CD5663D813}" dt="2023-04-24T06:38:59.147" v="1199" actId="478"/>
          <ac:grpSpMkLst>
            <pc:docMk/>
            <pc:sldMk cId="3565818949" sldId="2147470879"/>
            <ac:grpSpMk id="3" creationId="{EFA26DF1-7A0E-4696-BB1C-1345EC92AB51}"/>
          </ac:grpSpMkLst>
        </pc:grpChg>
        <pc:grpChg chg="del mod">
          <ac:chgData name="Ashish Mahajan" userId="48565a57b1029db5" providerId="LiveId" clId="{7CA25D5E-FB76-42DE-8B2D-F3CD5663D813}" dt="2023-04-24T06:38:45.893" v="1196" actId="165"/>
          <ac:grpSpMkLst>
            <pc:docMk/>
            <pc:sldMk cId="3565818949" sldId="2147470879"/>
            <ac:grpSpMk id="4" creationId="{2A3D7900-0FED-47BE-8589-B849F669132A}"/>
          </ac:grpSpMkLst>
        </pc:grpChg>
        <pc:grpChg chg="mod topLvl">
          <ac:chgData name="Ashish Mahajan" userId="48565a57b1029db5" providerId="LiveId" clId="{7CA25D5E-FB76-42DE-8B2D-F3CD5663D813}" dt="2023-04-24T07:05:56.769" v="1812" actId="1038"/>
          <ac:grpSpMkLst>
            <pc:docMk/>
            <pc:sldMk cId="3565818949" sldId="2147470879"/>
            <ac:grpSpMk id="6" creationId="{0989252C-5CEB-40CD-8207-9D05601189A9}"/>
          </ac:grpSpMkLst>
        </pc:grpChg>
        <pc:grpChg chg="add mod">
          <ac:chgData name="Ashish Mahajan" userId="48565a57b1029db5" providerId="LiveId" clId="{7CA25D5E-FB76-42DE-8B2D-F3CD5663D813}" dt="2023-04-24T07:04:21.844" v="1731" actId="165"/>
          <ac:grpSpMkLst>
            <pc:docMk/>
            <pc:sldMk cId="3565818949" sldId="2147470879"/>
            <ac:grpSpMk id="12" creationId="{2E7B843C-4BF9-853D-105F-57A48B1B2DD4}"/>
          </ac:grpSpMkLst>
        </pc:grpChg>
        <pc:grpChg chg="add mod topLvl">
          <ac:chgData name="Ashish Mahajan" userId="48565a57b1029db5" providerId="LiveId" clId="{7CA25D5E-FB76-42DE-8B2D-F3CD5663D813}" dt="2023-04-24T07:05:50.669" v="1804" actId="1036"/>
          <ac:grpSpMkLst>
            <pc:docMk/>
            <pc:sldMk cId="3565818949" sldId="2147470879"/>
            <ac:grpSpMk id="23" creationId="{CF739108-697C-9457-DCB9-7A65CD0E0F3D}"/>
          </ac:grpSpMkLst>
        </pc:grpChg>
        <pc:grpChg chg="add mod topLvl">
          <ac:chgData name="Ashish Mahajan" userId="48565a57b1029db5" providerId="LiveId" clId="{7CA25D5E-FB76-42DE-8B2D-F3CD5663D813}" dt="2023-04-24T07:06:02.724" v="1823" actId="1037"/>
          <ac:grpSpMkLst>
            <pc:docMk/>
            <pc:sldMk cId="3565818949" sldId="2147470879"/>
            <ac:grpSpMk id="30" creationId="{C091C7D8-D678-E4A5-FAF8-3E0674359B41}"/>
          </ac:grpSpMkLst>
        </pc:grpChg>
        <pc:grpChg chg="add del mod">
          <ac:chgData name="Ashish Mahajan" userId="48565a57b1029db5" providerId="LiveId" clId="{7CA25D5E-FB76-42DE-8B2D-F3CD5663D813}" dt="2023-04-24T07:04:21.844" v="1731" actId="165"/>
          <ac:grpSpMkLst>
            <pc:docMk/>
            <pc:sldMk cId="3565818949" sldId="2147470879"/>
            <ac:grpSpMk id="31" creationId="{0CA4191E-77A1-1C75-1086-F379F6B70B58}"/>
          </ac:grpSpMkLst>
        </pc:grpChg>
        <pc:graphicFrameChg chg="del">
          <ac:chgData name="Ashish Mahajan" userId="48565a57b1029db5" providerId="LiveId" clId="{7CA25D5E-FB76-42DE-8B2D-F3CD5663D813}" dt="2023-04-24T06:28:16.464" v="918" actId="478"/>
          <ac:graphicFrameMkLst>
            <pc:docMk/>
            <pc:sldMk cId="3565818949" sldId="2147470879"/>
            <ac:graphicFrameMk id="16" creationId="{827980A1-84B3-48F0-B49F-4047BB43FAEC}"/>
          </ac:graphicFrameMkLst>
        </pc:graphicFrameChg>
        <pc:graphicFrameChg chg="del mod topLvl">
          <ac:chgData name="Ashish Mahajan" userId="48565a57b1029db5" providerId="LiveId" clId="{7CA25D5E-FB76-42DE-8B2D-F3CD5663D813}" dt="2023-04-24T06:38:59.147" v="1199" actId="478"/>
          <ac:graphicFrameMkLst>
            <pc:docMk/>
            <pc:sldMk cId="3565818949" sldId="2147470879"/>
            <ac:graphicFrameMk id="22" creationId="{44E642C7-4364-412A-84B1-F1337B0DCB23}"/>
          </ac:graphicFrameMkLst>
        </pc:graphicFrameChg>
        <pc:graphicFrameChg chg="mod">
          <ac:chgData name="Ashish Mahajan" userId="48565a57b1029db5" providerId="LiveId" clId="{7CA25D5E-FB76-42DE-8B2D-F3CD5663D813}" dt="2023-04-24T07:04:21.844" v="1731" actId="165"/>
          <ac:graphicFrameMkLst>
            <pc:docMk/>
            <pc:sldMk cId="3565818949" sldId="2147470879"/>
            <ac:graphicFrameMk id="29" creationId="{34779C94-AF4D-4613-B38F-10191CD2B78F}"/>
          </ac:graphicFrameMkLst>
        </pc:graphicFrameChg>
        <pc:picChg chg="add mod">
          <ac:chgData name="Ashish Mahajan" userId="48565a57b1029db5" providerId="LiveId" clId="{7CA25D5E-FB76-42DE-8B2D-F3CD5663D813}" dt="2023-04-24T07:04:21.844" v="1731" actId="165"/>
          <ac:picMkLst>
            <pc:docMk/>
            <pc:sldMk cId="3565818949" sldId="2147470879"/>
            <ac:picMk id="7" creationId="{1A647F9F-5CD5-542E-4789-C90874EC6C25}"/>
          </ac:picMkLst>
        </pc:picChg>
        <pc:picChg chg="add mod modCrop">
          <ac:chgData name="Ashish Mahajan" userId="48565a57b1029db5" providerId="LiveId" clId="{7CA25D5E-FB76-42DE-8B2D-F3CD5663D813}" dt="2023-04-24T07:04:21.844" v="1731" actId="165"/>
          <ac:picMkLst>
            <pc:docMk/>
            <pc:sldMk cId="3565818949" sldId="2147470879"/>
            <ac:picMk id="11" creationId="{478B1E90-B678-1E34-B059-A3C348830864}"/>
          </ac:picMkLst>
        </pc:picChg>
        <pc:picChg chg="add mod modCrop">
          <ac:chgData name="Ashish Mahajan" userId="48565a57b1029db5" providerId="LiveId" clId="{7CA25D5E-FB76-42DE-8B2D-F3CD5663D813}" dt="2023-04-24T07:04:21.844" v="1731" actId="165"/>
          <ac:picMkLst>
            <pc:docMk/>
            <pc:sldMk cId="3565818949" sldId="2147470879"/>
            <ac:picMk id="13" creationId="{50B4B09A-1D1B-7577-C1D3-EC0E7BC696E4}"/>
          </ac:picMkLst>
        </pc:picChg>
      </pc:sldChg>
      <pc:sldChg chg="addSp delSp modSp add mod modClrScheme chgLayout">
        <pc:chgData name="Ashish Mahajan" userId="48565a57b1029db5" providerId="LiveId" clId="{7CA25D5E-FB76-42DE-8B2D-F3CD5663D813}" dt="2023-04-24T14:44:20.577" v="8102" actId="1035"/>
        <pc:sldMkLst>
          <pc:docMk/>
          <pc:sldMk cId="1795212396" sldId="2147470880"/>
        </pc:sldMkLst>
        <pc:spChg chg="del mod ord">
          <ac:chgData name="Ashish Mahajan" userId="48565a57b1029db5" providerId="LiveId" clId="{7CA25D5E-FB76-42DE-8B2D-F3CD5663D813}" dt="2023-04-24T14:43:58.645" v="8092" actId="478"/>
          <ac:spMkLst>
            <pc:docMk/>
            <pc:sldMk cId="1795212396" sldId="2147470880"/>
            <ac:spMk id="2" creationId="{D8469D94-9C48-43CF-AAE1-DBF0D2BF4F69}"/>
          </ac:spMkLst>
        </pc:spChg>
        <pc:spChg chg="add del mod ord">
          <ac:chgData name="Ashish Mahajan" userId="48565a57b1029db5" providerId="LiveId" clId="{7CA25D5E-FB76-42DE-8B2D-F3CD5663D813}" dt="2023-04-24T14:44:15.038" v="8095" actId="478"/>
          <ac:spMkLst>
            <pc:docMk/>
            <pc:sldMk cId="1795212396" sldId="2147470880"/>
            <ac:spMk id="3" creationId="{510004FF-2400-BA03-3FB1-985BA620AE93}"/>
          </ac:spMkLst>
        </pc:spChg>
        <pc:spChg chg="add del mod ord">
          <ac:chgData name="Ashish Mahajan" userId="48565a57b1029db5" providerId="LiveId" clId="{7CA25D5E-FB76-42DE-8B2D-F3CD5663D813}" dt="2023-04-24T14:44:07.394" v="8094" actId="478"/>
          <ac:spMkLst>
            <pc:docMk/>
            <pc:sldMk cId="1795212396" sldId="2147470880"/>
            <ac:spMk id="6" creationId="{8316E08A-E5D3-7233-6464-2C195BDB773D}"/>
          </ac:spMkLst>
        </pc:spChg>
        <pc:spChg chg="add del mod">
          <ac:chgData name="Ashish Mahajan" userId="48565a57b1029db5" providerId="LiveId" clId="{7CA25D5E-FB76-42DE-8B2D-F3CD5663D813}" dt="2023-04-24T14:44:01.989" v="8093" actId="478"/>
          <ac:spMkLst>
            <pc:docMk/>
            <pc:sldMk cId="1795212396" sldId="2147470880"/>
            <ac:spMk id="8" creationId="{396DAE39-8827-7AE7-0B39-6D8F25AE09AB}"/>
          </ac:spMkLst>
        </pc:spChg>
        <pc:spChg chg="add mod">
          <ac:chgData name="Ashish Mahajan" userId="48565a57b1029db5" providerId="LiveId" clId="{7CA25D5E-FB76-42DE-8B2D-F3CD5663D813}" dt="2023-04-24T07:49:54.480" v="2388" actId="208"/>
          <ac:spMkLst>
            <pc:docMk/>
            <pc:sldMk cId="1795212396" sldId="2147470880"/>
            <ac:spMk id="9" creationId="{AEFBF98C-0B9A-E120-A1E4-3ED31F291185}"/>
          </ac:spMkLst>
        </pc:spChg>
        <pc:spChg chg="add mod">
          <ac:chgData name="Ashish Mahajan" userId="48565a57b1029db5" providerId="LiveId" clId="{7CA25D5E-FB76-42DE-8B2D-F3CD5663D813}" dt="2023-04-24T07:49:54.480" v="2388" actId="208"/>
          <ac:spMkLst>
            <pc:docMk/>
            <pc:sldMk cId="1795212396" sldId="2147470880"/>
            <ac:spMk id="10" creationId="{168BA5D1-CF35-E141-7539-96DAFB8C6190}"/>
          </ac:spMkLst>
        </pc:spChg>
        <pc:spChg chg="mod">
          <ac:chgData name="Ashish Mahajan" userId="48565a57b1029db5" providerId="LiveId" clId="{7CA25D5E-FB76-42DE-8B2D-F3CD5663D813}" dt="2023-04-24T08:22:56.982" v="2672" actId="404"/>
          <ac:spMkLst>
            <pc:docMk/>
            <pc:sldMk cId="1795212396" sldId="2147470880"/>
            <ac:spMk id="14" creationId="{66122E33-DFEB-43FE-B1AC-1E9BCFF28CCF}"/>
          </ac:spMkLst>
        </pc:spChg>
        <pc:spChg chg="add mod">
          <ac:chgData name="Ashish Mahajan" userId="48565a57b1029db5" providerId="LiveId" clId="{7CA25D5E-FB76-42DE-8B2D-F3CD5663D813}" dt="2023-04-24T07:49:54.480" v="2388" actId="208"/>
          <ac:spMkLst>
            <pc:docMk/>
            <pc:sldMk cId="1795212396" sldId="2147470880"/>
            <ac:spMk id="16" creationId="{33DA354D-38B8-2B87-DC19-FBC725B1BB8C}"/>
          </ac:spMkLst>
        </pc:spChg>
        <pc:spChg chg="add mod">
          <ac:chgData name="Ashish Mahajan" userId="48565a57b1029db5" providerId="LiveId" clId="{7CA25D5E-FB76-42DE-8B2D-F3CD5663D813}" dt="2023-04-24T14:44:20.577" v="8102" actId="1035"/>
          <ac:spMkLst>
            <pc:docMk/>
            <pc:sldMk cId="1795212396" sldId="2147470880"/>
            <ac:spMk id="22" creationId="{511F0A0C-8B57-BE94-13A9-0B687C42799D}"/>
          </ac:spMkLst>
        </pc:spChg>
        <pc:spChg chg="del mod">
          <ac:chgData name="Ashish Mahajan" userId="48565a57b1029db5" providerId="LiveId" clId="{7CA25D5E-FB76-42DE-8B2D-F3CD5663D813}" dt="2023-04-24T07:29:01.177" v="1961" actId="478"/>
          <ac:spMkLst>
            <pc:docMk/>
            <pc:sldMk cId="1795212396" sldId="2147470880"/>
            <ac:spMk id="27" creationId="{2659B1BE-2CA4-4E72-9F79-C4CC384AF878}"/>
          </ac:spMkLst>
        </pc:spChg>
        <pc:spChg chg="add mod">
          <ac:chgData name="Ashish Mahajan" userId="48565a57b1029db5" providerId="LiveId" clId="{7CA25D5E-FB76-42DE-8B2D-F3CD5663D813}" dt="2023-04-24T07:49:33.563" v="2384" actId="208"/>
          <ac:spMkLst>
            <pc:docMk/>
            <pc:sldMk cId="1795212396" sldId="2147470880"/>
            <ac:spMk id="40" creationId="{C00597D2-034C-70CB-9F5F-DBC820340187}"/>
          </ac:spMkLst>
        </pc:spChg>
        <pc:spChg chg="add mod">
          <ac:chgData name="Ashish Mahajan" userId="48565a57b1029db5" providerId="LiveId" clId="{7CA25D5E-FB76-42DE-8B2D-F3CD5663D813}" dt="2023-04-24T08:20:25.023" v="2654" actId="1036"/>
          <ac:spMkLst>
            <pc:docMk/>
            <pc:sldMk cId="1795212396" sldId="2147470880"/>
            <ac:spMk id="41" creationId="{F5A4AD6F-35BE-C0B6-8D46-A66D3E8D2CFB}"/>
          </ac:spMkLst>
        </pc:spChg>
        <pc:grpChg chg="del">
          <ac:chgData name="Ashish Mahajan" userId="48565a57b1029db5" providerId="LiveId" clId="{7CA25D5E-FB76-42DE-8B2D-F3CD5663D813}" dt="2023-04-24T07:19:07.789" v="1918" actId="478"/>
          <ac:grpSpMkLst>
            <pc:docMk/>
            <pc:sldMk cId="1795212396" sldId="2147470880"/>
            <ac:grpSpMk id="6" creationId="{0989252C-5CEB-40CD-8207-9D05601189A9}"/>
          </ac:grpSpMkLst>
        </pc:grpChg>
        <pc:grpChg chg="del">
          <ac:chgData name="Ashish Mahajan" userId="48565a57b1029db5" providerId="LiveId" clId="{7CA25D5E-FB76-42DE-8B2D-F3CD5663D813}" dt="2023-04-24T07:19:07.789" v="1918" actId="478"/>
          <ac:grpSpMkLst>
            <pc:docMk/>
            <pc:sldMk cId="1795212396" sldId="2147470880"/>
            <ac:grpSpMk id="23" creationId="{CF739108-697C-9457-DCB9-7A65CD0E0F3D}"/>
          </ac:grpSpMkLst>
        </pc:grpChg>
        <pc:grpChg chg="add mod">
          <ac:chgData name="Ashish Mahajan" userId="48565a57b1029db5" providerId="LiveId" clId="{7CA25D5E-FB76-42DE-8B2D-F3CD5663D813}" dt="2023-04-24T07:49:04.656" v="2379" actId="1076"/>
          <ac:grpSpMkLst>
            <pc:docMk/>
            <pc:sldMk cId="1795212396" sldId="2147470880"/>
            <ac:grpSpMk id="28" creationId="{538E1076-2E29-8047-CB7C-FEBB1D565652}"/>
          </ac:grpSpMkLst>
        </pc:grpChg>
        <pc:grpChg chg="del">
          <ac:chgData name="Ashish Mahajan" userId="48565a57b1029db5" providerId="LiveId" clId="{7CA25D5E-FB76-42DE-8B2D-F3CD5663D813}" dt="2023-04-24T07:19:07.789" v="1918" actId="478"/>
          <ac:grpSpMkLst>
            <pc:docMk/>
            <pc:sldMk cId="1795212396" sldId="2147470880"/>
            <ac:grpSpMk id="30" creationId="{C091C7D8-D678-E4A5-FAF8-3E0674359B41}"/>
          </ac:grpSpMkLst>
        </pc:grpChg>
        <pc:grpChg chg="add mod">
          <ac:chgData name="Ashish Mahajan" userId="48565a57b1029db5" providerId="LiveId" clId="{7CA25D5E-FB76-42DE-8B2D-F3CD5663D813}" dt="2023-04-24T07:44:31.263" v="2309" actId="164"/>
          <ac:grpSpMkLst>
            <pc:docMk/>
            <pc:sldMk cId="1795212396" sldId="2147470880"/>
            <ac:grpSpMk id="31" creationId="{BBC24AFD-2D52-D28F-2FE8-CD0F82774628}"/>
          </ac:grpSpMkLst>
        </pc:grpChg>
        <pc:grpChg chg="add mod">
          <ac:chgData name="Ashish Mahajan" userId="48565a57b1029db5" providerId="LiveId" clId="{7CA25D5E-FB76-42DE-8B2D-F3CD5663D813}" dt="2023-04-24T08:20:25.023" v="2654" actId="1036"/>
          <ac:grpSpMkLst>
            <pc:docMk/>
            <pc:sldMk cId="1795212396" sldId="2147470880"/>
            <ac:grpSpMk id="34" creationId="{86C23846-0A24-A499-A16C-FA3CECD83478}"/>
          </ac:grpSpMkLst>
        </pc:grpChg>
        <pc:grpChg chg="add mod">
          <ac:chgData name="Ashish Mahajan" userId="48565a57b1029db5" providerId="LiveId" clId="{7CA25D5E-FB76-42DE-8B2D-F3CD5663D813}" dt="2023-04-24T07:49:10.102" v="2380" actId="1076"/>
          <ac:grpSpMkLst>
            <pc:docMk/>
            <pc:sldMk cId="1795212396" sldId="2147470880"/>
            <ac:grpSpMk id="39" creationId="{7D946DDA-9E32-1E38-D5FB-0266C326BD58}"/>
          </ac:grpSpMkLst>
        </pc:grpChg>
        <pc:picChg chg="add mod modCrop">
          <ac:chgData name="Ashish Mahajan" userId="48565a57b1029db5" providerId="LiveId" clId="{7CA25D5E-FB76-42DE-8B2D-F3CD5663D813}" dt="2023-04-24T07:49:54.480" v="2388" actId="208"/>
          <ac:picMkLst>
            <pc:docMk/>
            <pc:sldMk cId="1795212396" sldId="2147470880"/>
            <ac:picMk id="4" creationId="{569BBCB9-D163-8B85-72AE-556BA37C5F89}"/>
          </ac:picMkLst>
        </pc:picChg>
        <pc:picChg chg="add mod modCrop">
          <ac:chgData name="Ashish Mahajan" userId="48565a57b1029db5" providerId="LiveId" clId="{7CA25D5E-FB76-42DE-8B2D-F3CD5663D813}" dt="2023-04-24T07:43:46.857" v="2302" actId="164"/>
          <ac:picMkLst>
            <pc:docMk/>
            <pc:sldMk cId="1795212396" sldId="2147470880"/>
            <ac:picMk id="18" creationId="{FD6513F7-E884-0412-16A2-476E11AC7CDF}"/>
          </ac:picMkLst>
        </pc:picChg>
        <pc:picChg chg="add mod modCrop">
          <ac:chgData name="Ashish Mahajan" userId="48565a57b1029db5" providerId="LiveId" clId="{7CA25D5E-FB76-42DE-8B2D-F3CD5663D813}" dt="2023-04-24T07:46:21.895" v="2329" actId="1035"/>
          <ac:picMkLst>
            <pc:docMk/>
            <pc:sldMk cId="1795212396" sldId="2147470880"/>
            <ac:picMk id="20" creationId="{8475F082-29FF-AD66-D3E7-793DB3715820}"/>
          </ac:picMkLst>
        </pc:picChg>
        <pc:picChg chg="add del mod">
          <ac:chgData name="Ashish Mahajan" userId="48565a57b1029db5" providerId="LiveId" clId="{7CA25D5E-FB76-42DE-8B2D-F3CD5663D813}" dt="2023-04-24T07:44:52.173" v="2312" actId="478"/>
          <ac:picMkLst>
            <pc:docMk/>
            <pc:sldMk cId="1795212396" sldId="2147470880"/>
            <ac:picMk id="26" creationId="{A208F28D-3557-95D4-320B-01E7DBB997B0}"/>
          </ac:picMkLst>
        </pc:picChg>
        <pc:picChg chg="add mod modCrop">
          <ac:chgData name="Ashish Mahajan" userId="48565a57b1029db5" providerId="LiveId" clId="{7CA25D5E-FB76-42DE-8B2D-F3CD5663D813}" dt="2023-04-24T08:52:59.316" v="3771" actId="1076"/>
          <ac:picMkLst>
            <pc:docMk/>
            <pc:sldMk cId="1795212396" sldId="2147470880"/>
            <ac:picMk id="33" creationId="{82BE9BF3-A153-F710-A5D9-131B0936718C}"/>
          </ac:picMkLst>
        </pc:picChg>
        <pc:picChg chg="add mod modCrop">
          <ac:chgData name="Ashish Mahajan" userId="48565a57b1029db5" providerId="LiveId" clId="{7CA25D5E-FB76-42DE-8B2D-F3CD5663D813}" dt="2023-04-24T07:47:29.018" v="2360" actId="164"/>
          <ac:picMkLst>
            <pc:docMk/>
            <pc:sldMk cId="1795212396" sldId="2147470880"/>
            <ac:picMk id="36" creationId="{6F8E70F1-CDF2-D743-81C3-C45F96FD2215}"/>
          </ac:picMkLst>
        </pc:picChg>
        <pc:picChg chg="add mod modCrop">
          <ac:chgData name="Ashish Mahajan" userId="48565a57b1029db5" providerId="LiveId" clId="{7CA25D5E-FB76-42DE-8B2D-F3CD5663D813}" dt="2023-04-24T07:47:29.018" v="2360" actId="164"/>
          <ac:picMkLst>
            <pc:docMk/>
            <pc:sldMk cId="1795212396" sldId="2147470880"/>
            <ac:picMk id="38" creationId="{36E52968-B875-716C-CE5C-1F7AD7A11716}"/>
          </ac:picMkLst>
        </pc:picChg>
      </pc:sldChg>
      <pc:sldChg chg="addSp delSp modSp new mod">
        <pc:chgData name="Ashish Mahajan" userId="48565a57b1029db5" providerId="LiveId" clId="{7CA25D5E-FB76-42DE-8B2D-F3CD5663D813}" dt="2023-04-24T14:40:44.224" v="8067"/>
        <pc:sldMkLst>
          <pc:docMk/>
          <pc:sldMk cId="2146447729" sldId="2147470881"/>
        </pc:sldMkLst>
        <pc:spChg chg="del mod">
          <ac:chgData name="Ashish Mahajan" userId="48565a57b1029db5" providerId="LiveId" clId="{7CA25D5E-FB76-42DE-8B2D-F3CD5663D813}" dt="2023-04-24T08:36:17.488" v="3234" actId="478"/>
          <ac:spMkLst>
            <pc:docMk/>
            <pc:sldMk cId="2146447729" sldId="2147470881"/>
            <ac:spMk id="2" creationId="{9CDC489D-22DB-FB98-1501-404D8B3FA7A7}"/>
          </ac:spMkLst>
        </pc:spChg>
        <pc:spChg chg="mod">
          <ac:chgData name="Ashish Mahajan" userId="48565a57b1029db5" providerId="LiveId" clId="{7CA25D5E-FB76-42DE-8B2D-F3CD5663D813}" dt="2023-04-24T14:40:44.224" v="8067"/>
          <ac:spMkLst>
            <pc:docMk/>
            <pc:sldMk cId="2146447729" sldId="2147470881"/>
            <ac:spMk id="3" creationId="{97169ACB-2849-20E6-8ACA-D6E1CCD506F7}"/>
          </ac:spMkLst>
        </pc:spChg>
        <pc:spChg chg="add del">
          <ac:chgData name="Ashish Mahajan" userId="48565a57b1029db5" providerId="LiveId" clId="{7CA25D5E-FB76-42DE-8B2D-F3CD5663D813}" dt="2023-04-24T08:26:49.881" v="2700"/>
          <ac:spMkLst>
            <pc:docMk/>
            <pc:sldMk cId="2146447729" sldId="2147470881"/>
            <ac:spMk id="4" creationId="{0FCB8720-D998-F6D7-34EA-9C960F1715BC}"/>
          </ac:spMkLst>
        </pc:spChg>
        <pc:spChg chg="add del">
          <ac:chgData name="Ashish Mahajan" userId="48565a57b1029db5" providerId="LiveId" clId="{7CA25D5E-FB76-42DE-8B2D-F3CD5663D813}" dt="2023-04-24T08:26:54.004" v="2703"/>
          <ac:spMkLst>
            <pc:docMk/>
            <pc:sldMk cId="2146447729" sldId="2147470881"/>
            <ac:spMk id="5" creationId="{30E501A9-2386-88AC-E288-6EA4CE68D138}"/>
          </ac:spMkLst>
        </pc:spChg>
        <pc:spChg chg="add del mod">
          <ac:chgData name="Ashish Mahajan" userId="48565a57b1029db5" providerId="LiveId" clId="{7CA25D5E-FB76-42DE-8B2D-F3CD5663D813}" dt="2023-04-24T08:27:01.366" v="2707"/>
          <ac:spMkLst>
            <pc:docMk/>
            <pc:sldMk cId="2146447729" sldId="2147470881"/>
            <ac:spMk id="6" creationId="{625ACE5A-8DAE-8851-FC7C-AB42930373B4}"/>
          </ac:spMkLst>
        </pc:spChg>
        <pc:spChg chg="add del">
          <ac:chgData name="Ashish Mahajan" userId="48565a57b1029db5" providerId="LiveId" clId="{7CA25D5E-FB76-42DE-8B2D-F3CD5663D813}" dt="2023-04-24T08:27:13.857" v="2710"/>
          <ac:spMkLst>
            <pc:docMk/>
            <pc:sldMk cId="2146447729" sldId="2147470881"/>
            <ac:spMk id="7" creationId="{7E1879E8-D8E0-2783-FF61-5E9D4E0105C5}"/>
          </ac:spMkLst>
        </pc:spChg>
        <pc:spChg chg="add del mod">
          <ac:chgData name="Ashish Mahajan" userId="48565a57b1029db5" providerId="LiveId" clId="{7CA25D5E-FB76-42DE-8B2D-F3CD5663D813}" dt="2023-04-24T08:42:24.681" v="3633" actId="478"/>
          <ac:spMkLst>
            <pc:docMk/>
            <pc:sldMk cId="2146447729" sldId="2147470881"/>
            <ac:spMk id="8" creationId="{1A64D891-932A-7364-2BD7-FD047CA65FE1}"/>
          </ac:spMkLst>
        </pc:spChg>
        <pc:spChg chg="add del">
          <ac:chgData name="Ashish Mahajan" userId="48565a57b1029db5" providerId="LiveId" clId="{7CA25D5E-FB76-42DE-8B2D-F3CD5663D813}" dt="2023-04-24T08:27:46.242" v="2714" actId="478"/>
          <ac:spMkLst>
            <pc:docMk/>
            <pc:sldMk cId="2146447729" sldId="2147470881"/>
            <ac:spMk id="9" creationId="{B65E0714-5E6B-57A2-2CE2-32628A260D18}"/>
          </ac:spMkLst>
        </pc:spChg>
        <pc:spChg chg="add mod">
          <ac:chgData name="Ashish Mahajan" userId="48565a57b1029db5" providerId="LiveId" clId="{7CA25D5E-FB76-42DE-8B2D-F3CD5663D813}" dt="2023-04-24T09:00:30.636" v="3773" actId="20577"/>
          <ac:spMkLst>
            <pc:docMk/>
            <pc:sldMk cId="2146447729" sldId="2147470881"/>
            <ac:spMk id="10" creationId="{1C04C887-255A-0091-EB03-7E4742F45DC2}"/>
          </ac:spMkLst>
        </pc:spChg>
        <pc:spChg chg="add del mod">
          <ac:chgData name="Ashish Mahajan" userId="48565a57b1029db5" providerId="LiveId" clId="{7CA25D5E-FB76-42DE-8B2D-F3CD5663D813}" dt="2023-04-24T08:36:23.177" v="3236" actId="478"/>
          <ac:spMkLst>
            <pc:docMk/>
            <pc:sldMk cId="2146447729" sldId="2147470881"/>
            <ac:spMk id="12" creationId="{6C6E9BF7-54CF-31D8-EEE7-AD855B2A078A}"/>
          </ac:spMkLst>
        </pc:spChg>
      </pc:sldChg>
      <pc:sldChg chg="addSp delSp modSp new mod">
        <pc:chgData name="Ashish Mahajan" userId="48565a57b1029db5" providerId="LiveId" clId="{7CA25D5E-FB76-42DE-8B2D-F3CD5663D813}" dt="2023-04-24T14:40:53.207" v="8069"/>
        <pc:sldMkLst>
          <pc:docMk/>
          <pc:sldMk cId="397296171" sldId="2147470882"/>
        </pc:sldMkLst>
        <pc:spChg chg="del">
          <ac:chgData name="Ashish Mahajan" userId="48565a57b1029db5" providerId="LiveId" clId="{7CA25D5E-FB76-42DE-8B2D-F3CD5663D813}" dt="2023-04-24T10:04:36.256" v="4120" actId="478"/>
          <ac:spMkLst>
            <pc:docMk/>
            <pc:sldMk cId="397296171" sldId="2147470882"/>
            <ac:spMk id="2" creationId="{5673D5D0-B1F9-D726-3038-59C721AAE436}"/>
          </ac:spMkLst>
        </pc:spChg>
        <pc:spChg chg="mod">
          <ac:chgData name="Ashish Mahajan" userId="48565a57b1029db5" providerId="LiveId" clId="{7CA25D5E-FB76-42DE-8B2D-F3CD5663D813}" dt="2023-04-24T14:40:53.207" v="8069"/>
          <ac:spMkLst>
            <pc:docMk/>
            <pc:sldMk cId="397296171" sldId="2147470882"/>
            <ac:spMk id="3" creationId="{EDEABC0C-4481-97C9-DEB4-9C2A60B5EC2E}"/>
          </ac:spMkLst>
        </pc:spChg>
        <pc:spChg chg="add mod">
          <ac:chgData name="Ashish Mahajan" userId="48565a57b1029db5" providerId="LiveId" clId="{7CA25D5E-FB76-42DE-8B2D-F3CD5663D813}" dt="2023-04-24T10:52:34.598" v="4497" actId="20577"/>
          <ac:spMkLst>
            <pc:docMk/>
            <pc:sldMk cId="397296171" sldId="2147470882"/>
            <ac:spMk id="10" creationId="{3B214A77-B79A-4791-3A88-99AB7FDEB616}"/>
          </ac:spMkLst>
        </pc:spChg>
        <pc:picChg chg="add mod ord">
          <ac:chgData name="Ashish Mahajan" userId="48565a57b1029db5" providerId="LiveId" clId="{7CA25D5E-FB76-42DE-8B2D-F3CD5663D813}" dt="2023-04-24T10:16:07.158" v="4419" actId="1076"/>
          <ac:picMkLst>
            <pc:docMk/>
            <pc:sldMk cId="397296171" sldId="2147470882"/>
            <ac:picMk id="5" creationId="{DC6CE7F6-BF6D-6167-C577-58D3EF6B8880}"/>
          </ac:picMkLst>
        </pc:picChg>
        <pc:picChg chg="add mod modCrop">
          <ac:chgData name="Ashish Mahajan" userId="48565a57b1029db5" providerId="LiveId" clId="{7CA25D5E-FB76-42DE-8B2D-F3CD5663D813}" dt="2023-04-24T10:16:00.904" v="4418" actId="1076"/>
          <ac:picMkLst>
            <pc:docMk/>
            <pc:sldMk cId="397296171" sldId="2147470882"/>
            <ac:picMk id="7" creationId="{228716B2-CDE5-D2E9-97D7-5E45CD16922B}"/>
          </ac:picMkLst>
        </pc:picChg>
        <pc:picChg chg="add mod">
          <ac:chgData name="Ashish Mahajan" userId="48565a57b1029db5" providerId="LiveId" clId="{7CA25D5E-FB76-42DE-8B2D-F3CD5663D813}" dt="2023-04-24T10:16:55.930" v="4431" actId="14100"/>
          <ac:picMkLst>
            <pc:docMk/>
            <pc:sldMk cId="397296171" sldId="2147470882"/>
            <ac:picMk id="9" creationId="{C4D4F058-3DCF-5C1C-7BA8-217F4DD0DA3E}"/>
          </ac:picMkLst>
        </pc:picChg>
        <pc:picChg chg="add mod">
          <ac:chgData name="Ashish Mahajan" userId="48565a57b1029db5" providerId="LiveId" clId="{7CA25D5E-FB76-42DE-8B2D-F3CD5663D813}" dt="2023-04-24T10:17:03.632" v="4433" actId="1076"/>
          <ac:picMkLst>
            <pc:docMk/>
            <pc:sldMk cId="397296171" sldId="2147470882"/>
            <ac:picMk id="12" creationId="{69B686F0-43E4-16E2-7193-27828C64F6FB}"/>
          </ac:picMkLst>
        </pc:picChg>
      </pc:sldChg>
      <pc:sldChg chg="addSp delSp modSp new mod">
        <pc:chgData name="Ashish Mahajan" userId="48565a57b1029db5" providerId="LiveId" clId="{7CA25D5E-FB76-42DE-8B2D-F3CD5663D813}" dt="2023-04-24T14:54:03.451" v="8229" actId="404"/>
        <pc:sldMkLst>
          <pc:docMk/>
          <pc:sldMk cId="3385930077" sldId="2147470883"/>
        </pc:sldMkLst>
        <pc:spChg chg="del">
          <ac:chgData name="Ashish Mahajan" userId="48565a57b1029db5" providerId="LiveId" clId="{7CA25D5E-FB76-42DE-8B2D-F3CD5663D813}" dt="2023-04-24T10:58:22.735" v="4499" actId="478"/>
          <ac:spMkLst>
            <pc:docMk/>
            <pc:sldMk cId="3385930077" sldId="2147470883"/>
            <ac:spMk id="2" creationId="{AD5912D7-D3FB-F6C3-D2E7-9FF39E2D612E}"/>
          </ac:spMkLst>
        </pc:spChg>
        <pc:spChg chg="mod">
          <ac:chgData name="Ashish Mahajan" userId="48565a57b1029db5" providerId="LiveId" clId="{7CA25D5E-FB76-42DE-8B2D-F3CD5663D813}" dt="2023-04-24T14:40:53.207" v="8069"/>
          <ac:spMkLst>
            <pc:docMk/>
            <pc:sldMk cId="3385930077" sldId="2147470883"/>
            <ac:spMk id="3" creationId="{C3C917F5-E903-D1B6-690C-9C24CA012C5A}"/>
          </ac:spMkLst>
        </pc:spChg>
        <pc:spChg chg="add mod">
          <ac:chgData name="Ashish Mahajan" userId="48565a57b1029db5" providerId="LiveId" clId="{7CA25D5E-FB76-42DE-8B2D-F3CD5663D813}" dt="2023-04-24T12:48:27.276" v="4557" actId="164"/>
          <ac:spMkLst>
            <pc:docMk/>
            <pc:sldMk cId="3385930077" sldId="2147470883"/>
            <ac:spMk id="11" creationId="{520FCD84-099C-E421-8AFD-11033953E643}"/>
          </ac:spMkLst>
        </pc:spChg>
        <pc:spChg chg="add mod">
          <ac:chgData name="Ashish Mahajan" userId="48565a57b1029db5" providerId="LiveId" clId="{7CA25D5E-FB76-42DE-8B2D-F3CD5663D813}" dt="2023-04-24T12:49:51.115" v="4570" actId="164"/>
          <ac:spMkLst>
            <pc:docMk/>
            <pc:sldMk cId="3385930077" sldId="2147470883"/>
            <ac:spMk id="15" creationId="{0C8D04C4-D113-6736-488B-2A702FD7495B}"/>
          </ac:spMkLst>
        </pc:spChg>
        <pc:spChg chg="add mod">
          <ac:chgData name="Ashish Mahajan" userId="48565a57b1029db5" providerId="LiveId" clId="{7CA25D5E-FB76-42DE-8B2D-F3CD5663D813}" dt="2023-04-24T14:54:03.451" v="8229" actId="404"/>
          <ac:spMkLst>
            <pc:docMk/>
            <pc:sldMk cId="3385930077" sldId="2147470883"/>
            <ac:spMk id="17" creationId="{36F606D6-8576-231C-F67A-071B3EC34F8B}"/>
          </ac:spMkLst>
        </pc:spChg>
        <pc:grpChg chg="add mod">
          <ac:chgData name="Ashish Mahajan" userId="48565a57b1029db5" providerId="LiveId" clId="{7CA25D5E-FB76-42DE-8B2D-F3CD5663D813}" dt="2023-04-24T12:48:27.276" v="4557" actId="164"/>
          <ac:grpSpMkLst>
            <pc:docMk/>
            <pc:sldMk cId="3385930077" sldId="2147470883"/>
            <ac:grpSpMk id="12" creationId="{CF852199-A3E2-4440-3570-56D8ED3B0A40}"/>
          </ac:grpSpMkLst>
        </pc:grpChg>
        <pc:grpChg chg="add mod">
          <ac:chgData name="Ashish Mahajan" userId="48565a57b1029db5" providerId="LiveId" clId="{7CA25D5E-FB76-42DE-8B2D-F3CD5663D813}" dt="2023-04-24T12:49:51.115" v="4570" actId="164"/>
          <ac:grpSpMkLst>
            <pc:docMk/>
            <pc:sldMk cId="3385930077" sldId="2147470883"/>
            <ac:grpSpMk id="16" creationId="{B269D77A-0C80-7DF7-BD51-2DE54A1EE4B2}"/>
          </ac:grpSpMkLst>
        </pc:grpChg>
        <pc:picChg chg="add mod">
          <ac:chgData name="Ashish Mahajan" userId="48565a57b1029db5" providerId="LiveId" clId="{7CA25D5E-FB76-42DE-8B2D-F3CD5663D813}" dt="2023-04-24T12:48:27.276" v="4557" actId="164"/>
          <ac:picMkLst>
            <pc:docMk/>
            <pc:sldMk cId="3385930077" sldId="2147470883"/>
            <ac:picMk id="5" creationId="{2BD64FD1-F438-0CD5-E80C-62F658E434A8}"/>
          </ac:picMkLst>
        </pc:picChg>
        <pc:picChg chg="add mod modCrop">
          <ac:chgData name="Ashish Mahajan" userId="48565a57b1029db5" providerId="LiveId" clId="{7CA25D5E-FB76-42DE-8B2D-F3CD5663D813}" dt="2023-04-24T12:50:20.471" v="4574" actId="14100"/>
          <ac:picMkLst>
            <pc:docMk/>
            <pc:sldMk cId="3385930077" sldId="2147470883"/>
            <ac:picMk id="7" creationId="{854895FC-233B-7ADE-D7CD-8BA587B95C3A}"/>
          </ac:picMkLst>
        </pc:picChg>
        <pc:picChg chg="add mod">
          <ac:chgData name="Ashish Mahajan" userId="48565a57b1029db5" providerId="LiveId" clId="{7CA25D5E-FB76-42DE-8B2D-F3CD5663D813}" dt="2023-04-24T12:49:51.115" v="4570" actId="164"/>
          <ac:picMkLst>
            <pc:docMk/>
            <pc:sldMk cId="3385930077" sldId="2147470883"/>
            <ac:picMk id="9" creationId="{E57636F9-E8BA-A3D3-8FAC-7807C0617B48}"/>
          </ac:picMkLst>
        </pc:picChg>
        <pc:picChg chg="add mod ord modCrop">
          <ac:chgData name="Ashish Mahajan" userId="48565a57b1029db5" providerId="LiveId" clId="{7CA25D5E-FB76-42DE-8B2D-F3CD5663D813}" dt="2023-04-24T12:50:33.765" v="4576" actId="170"/>
          <ac:picMkLst>
            <pc:docMk/>
            <pc:sldMk cId="3385930077" sldId="2147470883"/>
            <ac:picMk id="10" creationId="{AE97625C-07A2-B931-1309-E59AAFF74409}"/>
          </ac:picMkLst>
        </pc:picChg>
        <pc:picChg chg="add mod">
          <ac:chgData name="Ashish Mahajan" userId="48565a57b1029db5" providerId="LiveId" clId="{7CA25D5E-FB76-42DE-8B2D-F3CD5663D813}" dt="2023-04-24T12:49:51.115" v="4570" actId="164"/>
          <ac:picMkLst>
            <pc:docMk/>
            <pc:sldMk cId="3385930077" sldId="2147470883"/>
            <ac:picMk id="14" creationId="{D768DE34-AEA6-0A38-DD05-93A6F3EF97EF}"/>
          </ac:picMkLst>
        </pc:picChg>
      </pc:sldChg>
      <pc:sldChg chg="addSp delSp modSp new del mod">
        <pc:chgData name="Ashish Mahajan" userId="48565a57b1029db5" providerId="LiveId" clId="{7CA25D5E-FB76-42DE-8B2D-F3CD5663D813}" dt="2023-04-24T16:39:09.644" v="9042" actId="47"/>
        <pc:sldMkLst>
          <pc:docMk/>
          <pc:sldMk cId="3523278363" sldId="2147470884"/>
        </pc:sldMkLst>
        <pc:spChg chg="del">
          <ac:chgData name="Ashish Mahajan" userId="48565a57b1029db5" providerId="LiveId" clId="{7CA25D5E-FB76-42DE-8B2D-F3CD5663D813}" dt="2023-04-24T14:16:07.527" v="6544" actId="478"/>
          <ac:spMkLst>
            <pc:docMk/>
            <pc:sldMk cId="3523278363" sldId="2147470884"/>
            <ac:spMk id="2" creationId="{20315460-C7D9-867D-CA8C-17E1B6517423}"/>
          </ac:spMkLst>
        </pc:spChg>
        <pc:spChg chg="mod">
          <ac:chgData name="Ashish Mahajan" userId="48565a57b1029db5" providerId="LiveId" clId="{7CA25D5E-FB76-42DE-8B2D-F3CD5663D813}" dt="2023-04-24T14:40:53.207" v="8069"/>
          <ac:spMkLst>
            <pc:docMk/>
            <pc:sldMk cId="3523278363" sldId="2147470884"/>
            <ac:spMk id="3" creationId="{78DB0F80-91D5-1131-0ACD-F3DBF4670AD3}"/>
          </ac:spMkLst>
        </pc:spChg>
        <pc:spChg chg="add mod">
          <ac:chgData name="Ashish Mahajan" userId="48565a57b1029db5" providerId="LiveId" clId="{7CA25D5E-FB76-42DE-8B2D-F3CD5663D813}" dt="2023-04-24T14:38:53.589" v="8062" actId="1076"/>
          <ac:spMkLst>
            <pc:docMk/>
            <pc:sldMk cId="3523278363" sldId="2147470884"/>
            <ac:spMk id="4" creationId="{CE75CC78-F64E-0CFA-DCB1-695FEC9E9E63}"/>
          </ac:spMkLst>
        </pc:spChg>
      </pc:sldChg>
      <pc:sldChg chg="addSp delSp modSp new mod">
        <pc:chgData name="Ashish Mahajan" userId="48565a57b1029db5" providerId="LiveId" clId="{7CA25D5E-FB76-42DE-8B2D-F3CD5663D813}" dt="2023-04-24T14:40:53.207" v="8069"/>
        <pc:sldMkLst>
          <pc:docMk/>
          <pc:sldMk cId="4200172837" sldId="2147470885"/>
        </pc:sldMkLst>
        <pc:spChg chg="del">
          <ac:chgData name="Ashish Mahajan" userId="48565a57b1029db5" providerId="LiveId" clId="{7CA25D5E-FB76-42DE-8B2D-F3CD5663D813}" dt="2023-04-24T13:03:10.298" v="5107" actId="478"/>
          <ac:spMkLst>
            <pc:docMk/>
            <pc:sldMk cId="4200172837" sldId="2147470885"/>
            <ac:spMk id="2" creationId="{FC07A639-2F23-0BA8-D630-6F727EB372AC}"/>
          </ac:spMkLst>
        </pc:spChg>
        <pc:spChg chg="mod">
          <ac:chgData name="Ashish Mahajan" userId="48565a57b1029db5" providerId="LiveId" clId="{7CA25D5E-FB76-42DE-8B2D-F3CD5663D813}" dt="2023-04-24T14:40:53.207" v="8069"/>
          <ac:spMkLst>
            <pc:docMk/>
            <pc:sldMk cId="4200172837" sldId="2147470885"/>
            <ac:spMk id="3" creationId="{CED65758-453F-C863-0010-CEADB92AF5A2}"/>
          </ac:spMkLst>
        </pc:spChg>
        <pc:spChg chg="add mod">
          <ac:chgData name="Ashish Mahajan" userId="48565a57b1029db5" providerId="LiveId" clId="{7CA25D5E-FB76-42DE-8B2D-F3CD5663D813}" dt="2023-04-24T14:04:27.927" v="6520" actId="14100"/>
          <ac:spMkLst>
            <pc:docMk/>
            <pc:sldMk cId="4200172837" sldId="2147470885"/>
            <ac:spMk id="5" creationId="{C54880AE-9C92-4934-B874-01DF5F6EA7AC}"/>
          </ac:spMkLst>
        </pc:spChg>
        <pc:spChg chg="add mod">
          <ac:chgData name="Ashish Mahajan" userId="48565a57b1029db5" providerId="LiveId" clId="{7CA25D5E-FB76-42DE-8B2D-F3CD5663D813}" dt="2023-04-24T13:15:36.331" v="5551" actId="1076"/>
          <ac:spMkLst>
            <pc:docMk/>
            <pc:sldMk cId="4200172837" sldId="2147470885"/>
            <ac:spMk id="6" creationId="{E5C88947-371B-9DC3-2A27-F6CA81161720}"/>
          </ac:spMkLst>
        </pc:spChg>
        <pc:spChg chg="add mod">
          <ac:chgData name="Ashish Mahajan" userId="48565a57b1029db5" providerId="LiveId" clId="{7CA25D5E-FB76-42DE-8B2D-F3CD5663D813}" dt="2023-04-24T14:05:05.844" v="6524" actId="1035"/>
          <ac:spMkLst>
            <pc:docMk/>
            <pc:sldMk cId="4200172837" sldId="2147470885"/>
            <ac:spMk id="7" creationId="{4A50DA64-9B9F-0439-BDCB-59DD8B5286FF}"/>
          </ac:spMkLst>
        </pc:spChg>
        <pc:graphicFrameChg chg="add del mod modGraphic">
          <ac:chgData name="Ashish Mahajan" userId="48565a57b1029db5" providerId="LiveId" clId="{7CA25D5E-FB76-42DE-8B2D-F3CD5663D813}" dt="2023-04-24T13:04:11.826" v="5113" actId="478"/>
          <ac:graphicFrameMkLst>
            <pc:docMk/>
            <pc:sldMk cId="4200172837" sldId="2147470885"/>
            <ac:graphicFrameMk id="4" creationId="{E512D181-B70F-615E-708F-F1170A69BB5A}"/>
          </ac:graphicFrameMkLst>
        </pc:graphicFrameChg>
      </pc:sldChg>
      <pc:sldChg chg="addSp delSp modSp new mod">
        <pc:chgData name="Ashish Mahajan" userId="48565a57b1029db5" providerId="LiveId" clId="{7CA25D5E-FB76-42DE-8B2D-F3CD5663D813}" dt="2023-04-24T14:54:28.185" v="8231" actId="1076"/>
        <pc:sldMkLst>
          <pc:docMk/>
          <pc:sldMk cId="3599364532" sldId="2147470886"/>
        </pc:sldMkLst>
        <pc:spChg chg="del">
          <ac:chgData name="Ashish Mahajan" userId="48565a57b1029db5" providerId="LiveId" clId="{7CA25D5E-FB76-42DE-8B2D-F3CD5663D813}" dt="2023-04-24T13:20:30.299" v="5746" actId="478"/>
          <ac:spMkLst>
            <pc:docMk/>
            <pc:sldMk cId="3599364532" sldId="2147470886"/>
            <ac:spMk id="2" creationId="{655BBAAF-FDAE-060B-018E-E6AA86E548CD}"/>
          </ac:spMkLst>
        </pc:spChg>
        <pc:spChg chg="mod">
          <ac:chgData name="Ashish Mahajan" userId="48565a57b1029db5" providerId="LiveId" clId="{7CA25D5E-FB76-42DE-8B2D-F3CD5663D813}" dt="2023-04-24T14:40:53.207" v="8069"/>
          <ac:spMkLst>
            <pc:docMk/>
            <pc:sldMk cId="3599364532" sldId="2147470886"/>
            <ac:spMk id="3" creationId="{F9460794-C3BC-02D6-69C7-9A95F4D46D1C}"/>
          </ac:spMkLst>
        </pc:spChg>
        <pc:spChg chg="add del">
          <ac:chgData name="Ashish Mahajan" userId="48565a57b1029db5" providerId="LiveId" clId="{7CA25D5E-FB76-42DE-8B2D-F3CD5663D813}" dt="2023-04-24T13:26:02.294" v="5810" actId="478"/>
          <ac:spMkLst>
            <pc:docMk/>
            <pc:sldMk cId="3599364532" sldId="2147470886"/>
            <ac:spMk id="13" creationId="{86AE63C2-85D3-B286-2C1E-BD351188B2C8}"/>
          </ac:spMkLst>
        </pc:spChg>
        <pc:spChg chg="add del mod">
          <ac:chgData name="Ashish Mahajan" userId="48565a57b1029db5" providerId="LiveId" clId="{7CA25D5E-FB76-42DE-8B2D-F3CD5663D813}" dt="2023-04-24T13:26:02.294" v="5810" actId="478"/>
          <ac:spMkLst>
            <pc:docMk/>
            <pc:sldMk cId="3599364532" sldId="2147470886"/>
            <ac:spMk id="14" creationId="{DAD9F1C1-05B6-57AE-179C-C374C6DC4C1A}"/>
          </ac:spMkLst>
        </pc:spChg>
        <pc:spChg chg="add mod">
          <ac:chgData name="Ashish Mahajan" userId="48565a57b1029db5" providerId="LiveId" clId="{7CA25D5E-FB76-42DE-8B2D-F3CD5663D813}" dt="2023-04-24T13:32:30.120" v="5837" actId="164"/>
          <ac:spMkLst>
            <pc:docMk/>
            <pc:sldMk cId="3599364532" sldId="2147470886"/>
            <ac:spMk id="19" creationId="{6EB355BB-86AA-4F95-B8F3-A6CF0FAF32A3}"/>
          </ac:spMkLst>
        </pc:spChg>
        <pc:spChg chg="add mod">
          <ac:chgData name="Ashish Mahajan" userId="48565a57b1029db5" providerId="LiveId" clId="{7CA25D5E-FB76-42DE-8B2D-F3CD5663D813}" dt="2023-04-24T14:54:28.185" v="8231" actId="1076"/>
          <ac:spMkLst>
            <pc:docMk/>
            <pc:sldMk cId="3599364532" sldId="2147470886"/>
            <ac:spMk id="21" creationId="{903C1403-FC68-BF09-FA81-38AF5E8A7D70}"/>
          </ac:spMkLst>
        </pc:spChg>
        <pc:grpChg chg="add mod">
          <ac:chgData name="Ashish Mahajan" userId="48565a57b1029db5" providerId="LiveId" clId="{7CA25D5E-FB76-42DE-8B2D-F3CD5663D813}" dt="2023-04-24T13:57:06.485" v="6003" actId="14100"/>
          <ac:grpSpMkLst>
            <pc:docMk/>
            <pc:sldMk cId="3599364532" sldId="2147470886"/>
            <ac:grpSpMk id="20" creationId="{C5E0C1C7-3C93-2F59-BB13-466E7D26009C}"/>
          </ac:grpSpMkLst>
        </pc:grpChg>
        <pc:picChg chg="add mod">
          <ac:chgData name="Ashish Mahajan" userId="48565a57b1029db5" providerId="LiveId" clId="{7CA25D5E-FB76-42DE-8B2D-F3CD5663D813}" dt="2023-04-24T13:32:30.120" v="5837" actId="164"/>
          <ac:picMkLst>
            <pc:docMk/>
            <pc:sldMk cId="3599364532" sldId="2147470886"/>
            <ac:picMk id="5" creationId="{ED152E3F-13A4-72C0-A38B-C2D76BEC5A50}"/>
          </ac:picMkLst>
        </pc:picChg>
        <pc:picChg chg="add del mod modCrop">
          <ac:chgData name="Ashish Mahajan" userId="48565a57b1029db5" providerId="LiveId" clId="{7CA25D5E-FB76-42DE-8B2D-F3CD5663D813}" dt="2023-04-24T13:30:51.640" v="5818" actId="478"/>
          <ac:picMkLst>
            <pc:docMk/>
            <pc:sldMk cId="3599364532" sldId="2147470886"/>
            <ac:picMk id="7" creationId="{4AF75687-79A5-3791-2C37-5ACC6EFAE854}"/>
          </ac:picMkLst>
        </pc:picChg>
        <pc:picChg chg="add mod modCrop">
          <ac:chgData name="Ashish Mahajan" userId="48565a57b1029db5" providerId="LiveId" clId="{7CA25D5E-FB76-42DE-8B2D-F3CD5663D813}" dt="2023-04-24T13:32:30.120" v="5837" actId="164"/>
          <ac:picMkLst>
            <pc:docMk/>
            <pc:sldMk cId="3599364532" sldId="2147470886"/>
            <ac:picMk id="8" creationId="{DAAA7FFF-18AD-8B63-3748-0D9B04480F50}"/>
          </ac:picMkLst>
        </pc:picChg>
        <pc:picChg chg="add del mod modCrop">
          <ac:chgData name="Ashish Mahajan" userId="48565a57b1029db5" providerId="LiveId" clId="{7CA25D5E-FB76-42DE-8B2D-F3CD5663D813}" dt="2023-04-24T13:32:45.195" v="5854" actId="1036"/>
          <ac:picMkLst>
            <pc:docMk/>
            <pc:sldMk cId="3599364532" sldId="2147470886"/>
            <ac:picMk id="10" creationId="{5BA1116A-66EE-F3DC-DEE4-6A43EE10D9F5}"/>
          </ac:picMkLst>
        </pc:picChg>
        <pc:picChg chg="add mod">
          <ac:chgData name="Ashish Mahajan" userId="48565a57b1029db5" providerId="LiveId" clId="{7CA25D5E-FB76-42DE-8B2D-F3CD5663D813}" dt="2023-04-24T13:32:55.451" v="5855" actId="14100"/>
          <ac:picMkLst>
            <pc:docMk/>
            <pc:sldMk cId="3599364532" sldId="2147470886"/>
            <ac:picMk id="12" creationId="{D49E3D3D-6684-CCBE-FE36-31E0D91CC66B}"/>
          </ac:picMkLst>
        </pc:picChg>
        <pc:picChg chg="add del mod">
          <ac:chgData name="Ashish Mahajan" userId="48565a57b1029db5" providerId="LiveId" clId="{7CA25D5E-FB76-42DE-8B2D-F3CD5663D813}" dt="2023-04-24T13:30:22.956" v="5814" actId="478"/>
          <ac:picMkLst>
            <pc:docMk/>
            <pc:sldMk cId="3599364532" sldId="2147470886"/>
            <ac:picMk id="16" creationId="{A18E7A93-31FE-6B3D-64C1-90D43A23F8A3}"/>
          </ac:picMkLst>
        </pc:picChg>
        <pc:picChg chg="add mod">
          <ac:chgData name="Ashish Mahajan" userId="48565a57b1029db5" providerId="LiveId" clId="{7CA25D5E-FB76-42DE-8B2D-F3CD5663D813}" dt="2023-04-24T13:32:30.120" v="5837" actId="164"/>
          <ac:picMkLst>
            <pc:docMk/>
            <pc:sldMk cId="3599364532" sldId="2147470886"/>
            <ac:picMk id="17" creationId="{1B007257-6139-3567-CC5A-300DB4D4CD9D}"/>
          </ac:picMkLst>
        </pc:picChg>
        <pc:picChg chg="add mod">
          <ac:chgData name="Ashish Mahajan" userId="48565a57b1029db5" providerId="LiveId" clId="{7CA25D5E-FB76-42DE-8B2D-F3CD5663D813}" dt="2023-04-24T13:32:30.120" v="5837" actId="164"/>
          <ac:picMkLst>
            <pc:docMk/>
            <pc:sldMk cId="3599364532" sldId="2147470886"/>
            <ac:picMk id="18" creationId="{EF373325-BB45-8191-56CE-DC90921DA801}"/>
          </ac:picMkLst>
        </pc:picChg>
      </pc:sldChg>
      <pc:sldChg chg="new del">
        <pc:chgData name="Ashish Mahajan" userId="48565a57b1029db5" providerId="LiveId" clId="{7CA25D5E-FB76-42DE-8B2D-F3CD5663D813}" dt="2023-04-24T14:46:24.878" v="8124" actId="47"/>
        <pc:sldMkLst>
          <pc:docMk/>
          <pc:sldMk cId="2471818309" sldId="2147470887"/>
        </pc:sldMkLst>
      </pc:sldChg>
      <pc:sldChg chg="addSp delSp modSp add mod modTransition">
        <pc:chgData name="Ashish Mahajan" userId="48565a57b1029db5" providerId="LiveId" clId="{7CA25D5E-FB76-42DE-8B2D-F3CD5663D813}" dt="2023-04-24T16:40:17.018" v="9061"/>
        <pc:sldMkLst>
          <pc:docMk/>
          <pc:sldMk cId="3010194652" sldId="2147470887"/>
        </pc:sldMkLst>
        <pc:spChg chg="mod">
          <ac:chgData name="Ashish Mahajan" userId="48565a57b1029db5" providerId="LiveId" clId="{7CA25D5E-FB76-42DE-8B2D-F3CD5663D813}" dt="2023-04-24T16:16:02.334" v="8344"/>
          <ac:spMkLst>
            <pc:docMk/>
            <pc:sldMk cId="3010194652" sldId="2147470887"/>
            <ac:spMk id="3" creationId="{CED65758-453F-C863-0010-CEADB92AF5A2}"/>
          </ac:spMkLst>
        </pc:spChg>
        <pc:spChg chg="add del mod">
          <ac:chgData name="Ashish Mahajan" userId="48565a57b1029db5" providerId="LiveId" clId="{7CA25D5E-FB76-42DE-8B2D-F3CD5663D813}" dt="2023-04-24T16:18:33.339" v="8349" actId="22"/>
          <ac:spMkLst>
            <pc:docMk/>
            <pc:sldMk cId="3010194652" sldId="2147470887"/>
            <ac:spMk id="4" creationId="{F804B355-3518-1471-1E6C-2AD66A10414A}"/>
          </ac:spMkLst>
        </pc:spChg>
        <pc:spChg chg="add del mod">
          <ac:chgData name="Ashish Mahajan" userId="48565a57b1029db5" providerId="LiveId" clId="{7CA25D5E-FB76-42DE-8B2D-F3CD5663D813}" dt="2023-04-24T16:39:55.316" v="9048" actId="20577"/>
          <ac:spMkLst>
            <pc:docMk/>
            <pc:sldMk cId="3010194652" sldId="2147470887"/>
            <ac:spMk id="5" creationId="{C54880AE-9C92-4934-B874-01DF5F6EA7AC}"/>
          </ac:spMkLst>
        </pc:spChg>
        <pc:spChg chg="add del mod">
          <ac:chgData name="Ashish Mahajan" userId="48565a57b1029db5" providerId="LiveId" clId="{7CA25D5E-FB76-42DE-8B2D-F3CD5663D813}" dt="2023-04-24T16:39:58.453" v="9054" actId="20577"/>
          <ac:spMkLst>
            <pc:docMk/>
            <pc:sldMk cId="3010194652" sldId="2147470887"/>
            <ac:spMk id="6" creationId="{E5C88947-371B-9DC3-2A27-F6CA81161720}"/>
          </ac:spMkLst>
        </pc:spChg>
        <pc:spChg chg="add del mod">
          <ac:chgData name="Ashish Mahajan" userId="48565a57b1029db5" providerId="LiveId" clId="{7CA25D5E-FB76-42DE-8B2D-F3CD5663D813}" dt="2023-04-24T16:40:05.104" v="9060" actId="20577"/>
          <ac:spMkLst>
            <pc:docMk/>
            <pc:sldMk cId="3010194652" sldId="2147470887"/>
            <ac:spMk id="7" creationId="{4A50DA64-9B9F-0439-BDCB-59DD8B5286FF}"/>
          </ac:spMkLst>
        </pc:spChg>
      </pc:sldChg>
      <pc:sldMasterChg chg="modSldLayout">
        <pc:chgData name="Ashish Mahajan" userId="48565a57b1029db5" providerId="LiveId" clId="{7CA25D5E-FB76-42DE-8B2D-F3CD5663D813}" dt="2023-04-24T14:42:53.026" v="8085"/>
        <pc:sldMasterMkLst>
          <pc:docMk/>
          <pc:sldMasterMk cId="0" sldId="2147483648"/>
        </pc:sldMasterMkLst>
        <pc:sldLayoutChg chg="modSp mod">
          <pc:chgData name="Ashish Mahajan" userId="48565a57b1029db5" providerId="LiveId" clId="{7CA25D5E-FB76-42DE-8B2D-F3CD5663D813}" dt="2023-04-24T14:42:14.007" v="8077" actId="20577"/>
          <pc:sldLayoutMkLst>
            <pc:docMk/>
            <pc:sldMasterMk cId="0" sldId="2147483648"/>
            <pc:sldLayoutMk cId="0" sldId="2147483660"/>
          </pc:sldLayoutMkLst>
          <pc:spChg chg="mod">
            <ac:chgData name="Ashish Mahajan" userId="48565a57b1029db5" providerId="LiveId" clId="{7CA25D5E-FB76-42DE-8B2D-F3CD5663D813}" dt="2023-04-24T14:42:14.007" v="8077" actId="20577"/>
            <ac:spMkLst>
              <pc:docMk/>
              <pc:sldMasterMk cId="0" sldId="2147483648"/>
              <pc:sldLayoutMk cId="0" sldId="2147483660"/>
              <ac:spMk id="23" creationId="{00000000-0000-0000-0000-000000000000}"/>
            </ac:spMkLst>
          </pc:spChg>
        </pc:sldLayoutChg>
        <pc:sldLayoutChg chg="modSp mod">
          <pc:chgData name="Ashish Mahajan" userId="48565a57b1029db5" providerId="LiveId" clId="{7CA25D5E-FB76-42DE-8B2D-F3CD5663D813}" dt="2023-04-24T14:41:38.279" v="8073" actId="20577"/>
          <pc:sldLayoutMkLst>
            <pc:docMk/>
            <pc:sldMasterMk cId="0" sldId="2147483648"/>
            <pc:sldLayoutMk cId="0" sldId="2147483674"/>
          </pc:sldLayoutMkLst>
          <pc:spChg chg="mod">
            <ac:chgData name="Ashish Mahajan" userId="48565a57b1029db5" providerId="LiveId" clId="{7CA25D5E-FB76-42DE-8B2D-F3CD5663D813}" dt="2023-04-24T14:41:38.279" v="8073" actId="20577"/>
            <ac:spMkLst>
              <pc:docMk/>
              <pc:sldMasterMk cId="0" sldId="2147483648"/>
              <pc:sldLayoutMk cId="0" sldId="2147483674"/>
              <ac:spMk id="23" creationId="{00000000-0000-0000-0000-000000000000}"/>
            </ac:spMkLst>
          </pc:spChg>
        </pc:sldLayoutChg>
        <pc:sldLayoutChg chg="modSp mod">
          <pc:chgData name="Ashish Mahajan" userId="48565a57b1029db5" providerId="LiveId" clId="{7CA25D5E-FB76-42DE-8B2D-F3CD5663D813}" dt="2023-04-24T14:41:45.151" v="8075" actId="20577"/>
          <pc:sldLayoutMkLst>
            <pc:docMk/>
            <pc:sldMasterMk cId="0" sldId="2147483648"/>
            <pc:sldLayoutMk cId="0" sldId="2147483702"/>
          </pc:sldLayoutMkLst>
          <pc:spChg chg="mod">
            <ac:chgData name="Ashish Mahajan" userId="48565a57b1029db5" providerId="LiveId" clId="{7CA25D5E-FB76-42DE-8B2D-F3CD5663D813}" dt="2023-04-24T14:41:45.151" v="8075" actId="20577"/>
            <ac:spMkLst>
              <pc:docMk/>
              <pc:sldMasterMk cId="0" sldId="2147483648"/>
              <pc:sldLayoutMk cId="0" sldId="2147483702"/>
              <ac:spMk id="23" creationId="{00000000-0000-0000-0000-000000000000}"/>
            </ac:spMkLst>
          </pc:spChg>
        </pc:sldLayoutChg>
        <pc:sldLayoutChg chg="modSp mod">
          <pc:chgData name="Ashish Mahajan" userId="48565a57b1029db5" providerId="LiveId" clId="{7CA25D5E-FB76-42DE-8B2D-F3CD5663D813}" dt="2023-04-24T14:41:32.163" v="8071" actId="20577"/>
          <pc:sldLayoutMkLst>
            <pc:docMk/>
            <pc:sldMasterMk cId="0" sldId="2147483648"/>
            <pc:sldLayoutMk cId="0" sldId="2147483716"/>
          </pc:sldLayoutMkLst>
          <pc:spChg chg="mod">
            <ac:chgData name="Ashish Mahajan" userId="48565a57b1029db5" providerId="LiveId" clId="{7CA25D5E-FB76-42DE-8B2D-F3CD5663D813}" dt="2023-04-24T14:41:32.163" v="8071" actId="20577"/>
            <ac:spMkLst>
              <pc:docMk/>
              <pc:sldMasterMk cId="0" sldId="2147483648"/>
              <pc:sldLayoutMk cId="0" sldId="2147483716"/>
              <ac:spMk id="23" creationId="{00000000-0000-0000-0000-000000000000}"/>
            </ac:spMkLst>
          </pc:spChg>
        </pc:sldLayoutChg>
        <pc:sldLayoutChg chg="addSp modSp">
          <pc:chgData name="Ashish Mahajan" userId="48565a57b1029db5" providerId="LiveId" clId="{7CA25D5E-FB76-42DE-8B2D-F3CD5663D813}" dt="2023-04-24T14:42:35.633" v="8082"/>
          <pc:sldLayoutMkLst>
            <pc:docMk/>
            <pc:sldMasterMk cId="0" sldId="2147483648"/>
            <pc:sldLayoutMk cId="0" sldId="2147483786"/>
          </pc:sldLayoutMkLst>
          <pc:spChg chg="add mod">
            <ac:chgData name="Ashish Mahajan" userId="48565a57b1029db5" providerId="LiveId" clId="{7CA25D5E-FB76-42DE-8B2D-F3CD5663D813}" dt="2023-04-24T14:42:35.633" v="8082"/>
            <ac:spMkLst>
              <pc:docMk/>
              <pc:sldMasterMk cId="0" sldId="2147483648"/>
              <pc:sldLayoutMk cId="0" sldId="2147483786"/>
              <ac:spMk id="6" creationId="{50597F7D-D1AD-1BCB-CF9D-3CA2E55B0C77}"/>
            </ac:spMkLst>
          </pc:spChg>
        </pc:sldLayoutChg>
        <pc:sldLayoutChg chg="modSp mod">
          <pc:chgData name="Ashish Mahajan" userId="48565a57b1029db5" providerId="LiveId" clId="{7CA25D5E-FB76-42DE-8B2D-F3CD5663D813}" dt="2023-04-24T14:42:17.976" v="8079" actId="20577"/>
          <pc:sldLayoutMkLst>
            <pc:docMk/>
            <pc:sldMasterMk cId="0" sldId="2147483648"/>
            <pc:sldLayoutMk cId="3801957602" sldId="2147483930"/>
          </pc:sldLayoutMkLst>
          <pc:spChg chg="mod">
            <ac:chgData name="Ashish Mahajan" userId="48565a57b1029db5" providerId="LiveId" clId="{7CA25D5E-FB76-42DE-8B2D-F3CD5663D813}" dt="2023-04-24T14:42:17.976" v="8079" actId="20577"/>
            <ac:spMkLst>
              <pc:docMk/>
              <pc:sldMasterMk cId="0" sldId="2147483648"/>
              <pc:sldLayoutMk cId="3801957602" sldId="2147483930"/>
              <ac:spMk id="22" creationId="{00000000-0000-0000-0000-000000000000}"/>
            </ac:spMkLst>
          </pc:spChg>
        </pc:sldLayoutChg>
        <pc:sldLayoutChg chg="addSp modSp">
          <pc:chgData name="Ashish Mahajan" userId="48565a57b1029db5" providerId="LiveId" clId="{7CA25D5E-FB76-42DE-8B2D-F3CD5663D813}" dt="2023-04-24T14:42:46.865" v="8083"/>
          <pc:sldLayoutMkLst>
            <pc:docMk/>
            <pc:sldMasterMk cId="0" sldId="2147483648"/>
            <pc:sldLayoutMk cId="2440753099" sldId="2147483934"/>
          </pc:sldLayoutMkLst>
          <pc:spChg chg="add mod">
            <ac:chgData name="Ashish Mahajan" userId="48565a57b1029db5" providerId="LiveId" clId="{7CA25D5E-FB76-42DE-8B2D-F3CD5663D813}" dt="2023-04-24T14:42:46.865" v="8083"/>
            <ac:spMkLst>
              <pc:docMk/>
              <pc:sldMasterMk cId="0" sldId="2147483648"/>
              <pc:sldLayoutMk cId="2440753099" sldId="2147483934"/>
              <ac:spMk id="7" creationId="{DF7815C4-EAFE-D630-367F-9647DE64A1FA}"/>
            </ac:spMkLst>
          </pc:spChg>
          <pc:grpChg chg="add mod">
            <ac:chgData name="Ashish Mahajan" userId="48565a57b1029db5" providerId="LiveId" clId="{7CA25D5E-FB76-42DE-8B2D-F3CD5663D813}" dt="2023-04-24T14:42:46.865" v="8083"/>
            <ac:grpSpMkLst>
              <pc:docMk/>
              <pc:sldMasterMk cId="0" sldId="2147483648"/>
              <pc:sldLayoutMk cId="2440753099" sldId="2147483934"/>
              <ac:grpSpMk id="2" creationId="{2702263C-AB3B-8D8E-A295-4A6CE0AD83D8}"/>
            </ac:grpSpMkLst>
          </pc:grpChg>
          <pc:picChg chg="add mod">
            <ac:chgData name="Ashish Mahajan" userId="48565a57b1029db5" providerId="LiveId" clId="{7CA25D5E-FB76-42DE-8B2D-F3CD5663D813}" dt="2023-04-24T14:42:46.865" v="8083"/>
            <ac:picMkLst>
              <pc:docMk/>
              <pc:sldMasterMk cId="0" sldId="2147483648"/>
              <pc:sldLayoutMk cId="2440753099" sldId="2147483934"/>
              <ac:picMk id="5" creationId="{E868C3AB-ECD2-BF2E-FD44-C082608AA4D9}"/>
            </ac:picMkLst>
          </pc:picChg>
          <pc:cxnChg chg="mod">
            <ac:chgData name="Ashish Mahajan" userId="48565a57b1029db5" providerId="LiveId" clId="{7CA25D5E-FB76-42DE-8B2D-F3CD5663D813}" dt="2023-04-24T14:42:46.865" v="8083"/>
            <ac:cxnSpMkLst>
              <pc:docMk/>
              <pc:sldMasterMk cId="0" sldId="2147483648"/>
              <pc:sldLayoutMk cId="2440753099" sldId="2147483934"/>
              <ac:cxnSpMk id="3" creationId="{4DBBCB61-742B-A361-2311-4663D1668FBE}"/>
            </ac:cxnSpMkLst>
          </pc:cxnChg>
          <pc:cxnChg chg="mod">
            <ac:chgData name="Ashish Mahajan" userId="48565a57b1029db5" providerId="LiveId" clId="{7CA25D5E-FB76-42DE-8B2D-F3CD5663D813}" dt="2023-04-24T14:42:46.865" v="8083"/>
            <ac:cxnSpMkLst>
              <pc:docMk/>
              <pc:sldMasterMk cId="0" sldId="2147483648"/>
              <pc:sldLayoutMk cId="2440753099" sldId="2147483934"/>
              <ac:cxnSpMk id="4" creationId="{044A870C-FCBE-A37F-95FD-B14D70030F48}"/>
            </ac:cxnSpMkLst>
          </pc:cxnChg>
        </pc:sldLayoutChg>
        <pc:sldLayoutChg chg="addSp modSp">
          <pc:chgData name="Ashish Mahajan" userId="48565a57b1029db5" providerId="LiveId" clId="{7CA25D5E-FB76-42DE-8B2D-F3CD5663D813}" dt="2023-04-24T14:42:27.260" v="8081"/>
          <pc:sldLayoutMkLst>
            <pc:docMk/>
            <pc:sldMasterMk cId="0" sldId="2147483648"/>
            <pc:sldLayoutMk cId="47090103" sldId="2147483935"/>
          </pc:sldLayoutMkLst>
          <pc:spChg chg="mod">
            <ac:chgData name="Ashish Mahajan" userId="48565a57b1029db5" providerId="LiveId" clId="{7CA25D5E-FB76-42DE-8B2D-F3CD5663D813}" dt="2023-04-24T14:42:20.324" v="8080"/>
            <ac:spMkLst>
              <pc:docMk/>
              <pc:sldMasterMk cId="0" sldId="2147483648"/>
              <pc:sldLayoutMk cId="47090103" sldId="2147483935"/>
              <ac:spMk id="7" creationId="{06E4F881-5E30-FB95-C696-EC1857E69ED6}"/>
            </ac:spMkLst>
          </pc:spChg>
          <pc:spChg chg="add mod">
            <ac:chgData name="Ashish Mahajan" userId="48565a57b1029db5" providerId="LiveId" clId="{7CA25D5E-FB76-42DE-8B2D-F3CD5663D813}" dt="2023-04-24T14:42:27.260" v="8081"/>
            <ac:spMkLst>
              <pc:docMk/>
              <pc:sldMasterMk cId="0" sldId="2147483648"/>
              <pc:sldLayoutMk cId="47090103" sldId="2147483935"/>
              <ac:spMk id="10" creationId="{86F25002-E3C1-CD5F-249D-BC6B98206B4D}"/>
            </ac:spMkLst>
          </pc:spChg>
          <pc:grpChg chg="add mod">
            <ac:chgData name="Ashish Mahajan" userId="48565a57b1029db5" providerId="LiveId" clId="{7CA25D5E-FB76-42DE-8B2D-F3CD5663D813}" dt="2023-04-24T14:42:20.324" v="8080"/>
            <ac:grpSpMkLst>
              <pc:docMk/>
              <pc:sldMasterMk cId="0" sldId="2147483648"/>
              <pc:sldLayoutMk cId="47090103" sldId="2147483935"/>
              <ac:grpSpMk id="2" creationId="{83346BAD-37E3-5547-D859-48E23AB1939F}"/>
            </ac:grpSpMkLst>
          </pc:grpChg>
          <pc:picChg chg="add mod">
            <ac:chgData name="Ashish Mahajan" userId="48565a57b1029db5" providerId="LiveId" clId="{7CA25D5E-FB76-42DE-8B2D-F3CD5663D813}" dt="2023-04-24T14:42:20.324" v="8080"/>
            <ac:picMkLst>
              <pc:docMk/>
              <pc:sldMasterMk cId="0" sldId="2147483648"/>
              <pc:sldLayoutMk cId="47090103" sldId="2147483935"/>
              <ac:picMk id="9" creationId="{0223952E-6F59-3131-DE58-0D8B8CCF69C9}"/>
            </ac:picMkLst>
          </pc:picChg>
          <pc:cxnChg chg="mod">
            <ac:chgData name="Ashish Mahajan" userId="48565a57b1029db5" providerId="LiveId" clId="{7CA25D5E-FB76-42DE-8B2D-F3CD5663D813}" dt="2023-04-24T14:42:20.324" v="8080"/>
            <ac:cxnSpMkLst>
              <pc:docMk/>
              <pc:sldMasterMk cId="0" sldId="2147483648"/>
              <pc:sldLayoutMk cId="47090103" sldId="2147483935"/>
              <ac:cxnSpMk id="6" creationId="{C5942163-1AF5-8941-69E0-39B4F5DB3B6E}"/>
            </ac:cxnSpMkLst>
          </pc:cxnChg>
          <pc:cxnChg chg="mod">
            <ac:chgData name="Ashish Mahajan" userId="48565a57b1029db5" providerId="LiveId" clId="{7CA25D5E-FB76-42DE-8B2D-F3CD5663D813}" dt="2023-04-24T14:42:20.324" v="8080"/>
            <ac:cxnSpMkLst>
              <pc:docMk/>
              <pc:sldMasterMk cId="0" sldId="2147483648"/>
              <pc:sldLayoutMk cId="47090103" sldId="2147483935"/>
              <ac:cxnSpMk id="8" creationId="{42439C69-347C-8D00-1D5A-AC151996B220}"/>
            </ac:cxnSpMkLst>
          </pc:cxnChg>
        </pc:sldLayoutChg>
        <pc:sldLayoutChg chg="addSp delSp modSp mod">
          <pc:chgData name="Ashish Mahajan" userId="48565a57b1029db5" providerId="LiveId" clId="{7CA25D5E-FB76-42DE-8B2D-F3CD5663D813}" dt="2023-04-24T14:42:53.026" v="8085"/>
          <pc:sldLayoutMkLst>
            <pc:docMk/>
            <pc:sldMasterMk cId="0" sldId="2147483648"/>
            <pc:sldLayoutMk cId="1234431020" sldId="2147483936"/>
          </pc:sldLayoutMkLst>
          <pc:spChg chg="add mod">
            <ac:chgData name="Ashish Mahajan" userId="48565a57b1029db5" providerId="LiveId" clId="{7CA25D5E-FB76-42DE-8B2D-F3CD5663D813}" dt="2023-04-24T14:42:53.026" v="8085"/>
            <ac:spMkLst>
              <pc:docMk/>
              <pc:sldMasterMk cId="0" sldId="2147483648"/>
              <pc:sldLayoutMk cId="1234431020" sldId="2147483936"/>
              <ac:spMk id="7" creationId="{AD3542B7-AA87-9F0B-2357-980EA4320E64}"/>
            </ac:spMkLst>
          </pc:spChg>
          <pc:spChg chg="del">
            <ac:chgData name="Ashish Mahajan" userId="48565a57b1029db5" providerId="LiveId" clId="{7CA25D5E-FB76-42DE-8B2D-F3CD5663D813}" dt="2023-04-24T14:42:52.313" v="8084" actId="478"/>
            <ac:spMkLst>
              <pc:docMk/>
              <pc:sldMasterMk cId="0" sldId="2147483648"/>
              <pc:sldLayoutMk cId="1234431020" sldId="2147483936"/>
              <ac:spMk id="11" creationId="{5287A5C3-379D-4D6A-92A9-4CE01F244B91}"/>
            </ac:spMkLst>
          </pc:spChg>
          <pc:grpChg chg="add mod">
            <ac:chgData name="Ashish Mahajan" userId="48565a57b1029db5" providerId="LiveId" clId="{7CA25D5E-FB76-42DE-8B2D-F3CD5663D813}" dt="2023-04-24T14:42:53.026" v="8085"/>
            <ac:grpSpMkLst>
              <pc:docMk/>
              <pc:sldMasterMk cId="0" sldId="2147483648"/>
              <pc:sldLayoutMk cId="1234431020" sldId="2147483936"/>
              <ac:grpSpMk id="3" creationId="{38FE8F21-AC65-0CE3-BBC2-E26D6169397E}"/>
            </ac:grpSpMkLst>
          </pc:grpChg>
          <pc:picChg chg="add mod">
            <ac:chgData name="Ashish Mahajan" userId="48565a57b1029db5" providerId="LiveId" clId="{7CA25D5E-FB76-42DE-8B2D-F3CD5663D813}" dt="2023-04-24T14:42:53.026" v="8085"/>
            <ac:picMkLst>
              <pc:docMk/>
              <pc:sldMasterMk cId="0" sldId="2147483648"/>
              <pc:sldLayoutMk cId="1234431020" sldId="2147483936"/>
              <ac:picMk id="6" creationId="{FE1B9717-B00D-B971-58EC-ADE3348C46BA}"/>
            </ac:picMkLst>
          </pc:picChg>
          <pc:picChg chg="del">
            <ac:chgData name="Ashish Mahajan" userId="48565a57b1029db5" providerId="LiveId" clId="{7CA25D5E-FB76-42DE-8B2D-F3CD5663D813}" dt="2023-04-24T14:42:52.313" v="8084" actId="478"/>
            <ac:picMkLst>
              <pc:docMk/>
              <pc:sldMasterMk cId="0" sldId="2147483648"/>
              <pc:sldLayoutMk cId="1234431020" sldId="2147483936"/>
              <ac:picMk id="12" creationId="{EAA76F43-55C2-447A-B8EE-3CD7FC8C53B8}"/>
            </ac:picMkLst>
          </pc:picChg>
          <pc:cxnChg chg="mod">
            <ac:chgData name="Ashish Mahajan" userId="48565a57b1029db5" providerId="LiveId" clId="{7CA25D5E-FB76-42DE-8B2D-F3CD5663D813}" dt="2023-04-24T14:42:53.026" v="8085"/>
            <ac:cxnSpMkLst>
              <pc:docMk/>
              <pc:sldMasterMk cId="0" sldId="2147483648"/>
              <pc:sldLayoutMk cId="1234431020" sldId="2147483936"/>
              <ac:cxnSpMk id="4" creationId="{59D7C2CD-A9B9-0DB8-D020-6DC458D9AA4B}"/>
            </ac:cxnSpMkLst>
          </pc:cxnChg>
          <pc:cxnChg chg="mod">
            <ac:chgData name="Ashish Mahajan" userId="48565a57b1029db5" providerId="LiveId" clId="{7CA25D5E-FB76-42DE-8B2D-F3CD5663D813}" dt="2023-04-24T14:42:53.026" v="8085"/>
            <ac:cxnSpMkLst>
              <pc:docMk/>
              <pc:sldMasterMk cId="0" sldId="2147483648"/>
              <pc:sldLayoutMk cId="1234431020" sldId="2147483936"/>
              <ac:cxnSpMk id="5" creationId="{385E22ED-9D11-D323-B42F-E3200A4F4298}"/>
            </ac:cxnSpMkLst>
          </pc:cxnChg>
        </pc:sldLayoutChg>
        <pc:sldLayoutChg chg="delSp">
          <pc:chgData name="Ashish Mahajan" userId="48565a57b1029db5" providerId="LiveId" clId="{7CA25D5E-FB76-42DE-8B2D-F3CD5663D813}" dt="2023-04-24T14:40:53.207" v="8069"/>
          <pc:sldLayoutMkLst>
            <pc:docMk/>
            <pc:sldMasterMk cId="0" sldId="2147483648"/>
            <pc:sldLayoutMk cId="2135085144" sldId="2147483937"/>
          </pc:sldLayoutMkLst>
          <pc:grpChg chg="del">
            <ac:chgData name="Ashish Mahajan" userId="48565a57b1029db5" providerId="LiveId" clId="{7CA25D5E-FB76-42DE-8B2D-F3CD5663D813}" dt="2023-04-24T14:40:53.207" v="8069"/>
            <ac:grpSpMkLst>
              <pc:docMk/>
              <pc:sldMasterMk cId="0" sldId="2147483648"/>
              <pc:sldLayoutMk cId="2135085144" sldId="2147483937"/>
              <ac:grpSpMk id="39" creationId="{00000000-0000-0000-0000-000000000000}"/>
            </ac:grpSpMkLst>
          </pc:grpChg>
          <pc:picChg chg="del">
            <ac:chgData name="Ashish Mahajan" userId="48565a57b1029db5" providerId="LiveId" clId="{7CA25D5E-FB76-42DE-8B2D-F3CD5663D813}" dt="2023-04-24T14:40:53.207" v="8069"/>
            <ac:picMkLst>
              <pc:docMk/>
              <pc:sldMasterMk cId="0" sldId="2147483648"/>
              <pc:sldLayoutMk cId="2135085144" sldId="2147483937"/>
              <ac:picMk id="43" creationId="{00000000-0000-0000-0000-000000000000}"/>
            </ac:picMkLst>
          </pc:picChg>
          <pc:picChg chg="del">
            <ac:chgData name="Ashish Mahajan" userId="48565a57b1029db5" providerId="LiveId" clId="{7CA25D5E-FB76-42DE-8B2D-F3CD5663D813}" dt="2023-04-24T14:40:53.207" v="8069"/>
            <ac:picMkLst>
              <pc:docMk/>
              <pc:sldMasterMk cId="0" sldId="2147483648"/>
              <pc:sldLayoutMk cId="2135085144" sldId="2147483937"/>
              <ac:picMk id="44" creationId="{00000000-0000-0000-0000-000000000000}"/>
            </ac:picMkLst>
          </pc:picChg>
        </pc:sldLayoutChg>
      </pc:sldMasterChg>
      <pc:sldMasterChg chg="del delSldLayout">
        <pc:chgData name="Ashish Mahajan" userId="48565a57b1029db5" providerId="LiveId" clId="{7CA25D5E-FB76-42DE-8B2D-F3CD5663D813}" dt="2023-04-24T08:46:25.216" v="3678" actId="47"/>
        <pc:sldMasterMkLst>
          <pc:docMk/>
          <pc:sldMasterMk cId="0" sldId="2147483746"/>
        </pc:sldMasterMkLst>
        <pc:sldLayoutChg chg="del">
          <pc:chgData name="Ashish Mahajan" userId="48565a57b1029db5" providerId="LiveId" clId="{7CA25D5E-FB76-42DE-8B2D-F3CD5663D813}" dt="2023-04-24T08:46:25.216" v="3678" actId="47"/>
          <pc:sldLayoutMkLst>
            <pc:docMk/>
            <pc:sldMasterMk cId="0" sldId="2147483746"/>
            <pc:sldLayoutMk cId="0" sldId="2147483747"/>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48"/>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49"/>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0"/>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1"/>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2"/>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3"/>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4"/>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5"/>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6"/>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7"/>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8"/>
          </pc:sldLayoutMkLst>
        </pc:sldLayoutChg>
        <pc:sldLayoutChg chg="del">
          <pc:chgData name="Ashish Mahajan" userId="48565a57b1029db5" providerId="LiveId" clId="{7CA25D5E-FB76-42DE-8B2D-F3CD5663D813}" dt="2023-04-24T08:46:25.216" v="3678" actId="47"/>
          <pc:sldLayoutMkLst>
            <pc:docMk/>
            <pc:sldMasterMk cId="0" sldId="2147483746"/>
            <pc:sldLayoutMk cId="0" sldId="2147483759"/>
          </pc:sldLayoutMkLst>
        </pc:sldLayoutChg>
        <pc:sldLayoutChg chg="del">
          <pc:chgData name="Ashish Mahajan" userId="48565a57b1029db5" providerId="LiveId" clId="{7CA25D5E-FB76-42DE-8B2D-F3CD5663D813}" dt="2023-04-24T08:46:25.216" v="3678" actId="47"/>
          <pc:sldLayoutMkLst>
            <pc:docMk/>
            <pc:sldMasterMk cId="0" sldId="2147483746"/>
            <pc:sldLayoutMk cId="2223321811" sldId="2147483935"/>
          </pc:sldLayoutMkLst>
        </pc:sldLayoutChg>
      </pc:sldMasterChg>
      <pc:sldMasterChg chg="modSldLayout">
        <pc:chgData name="Ashish Mahajan" userId="48565a57b1029db5" providerId="LiveId" clId="{7CA25D5E-FB76-42DE-8B2D-F3CD5663D813}" dt="2023-04-24T14:40:27.229" v="8066" actId="478"/>
        <pc:sldMasterMkLst>
          <pc:docMk/>
          <pc:sldMasterMk cId="0" sldId="2147483774"/>
        </pc:sldMasterMkLst>
        <pc:sldLayoutChg chg="delSp mod">
          <pc:chgData name="Ashish Mahajan" userId="48565a57b1029db5" providerId="LiveId" clId="{7CA25D5E-FB76-42DE-8B2D-F3CD5663D813}" dt="2023-04-24T14:40:27.229" v="8066" actId="478"/>
          <pc:sldLayoutMkLst>
            <pc:docMk/>
            <pc:sldMasterMk cId="0" sldId="2147483648"/>
            <pc:sldLayoutMk cId="0" sldId="2147483786"/>
          </pc:sldLayoutMkLst>
          <pc:spChg chg="del">
            <ac:chgData name="Ashish Mahajan" userId="48565a57b1029db5" providerId="LiveId" clId="{7CA25D5E-FB76-42DE-8B2D-F3CD5663D813}" dt="2023-04-24T14:40:27.229" v="8066" actId="478"/>
            <ac:spMkLst>
              <pc:docMk/>
              <pc:sldMasterMk cId="0" sldId="2147483648"/>
              <pc:sldLayoutMk cId="0" sldId="2147483786"/>
              <ac:spMk id="23" creationId="{00000000-0000-0000-0000-000000000000}"/>
            </ac:spMkLst>
          </pc:spChg>
        </pc:sldLayoutChg>
        <pc:sldLayoutChg chg="delSp mod">
          <pc:chgData name="Ashish Mahajan" userId="48565a57b1029db5" providerId="LiveId" clId="{7CA25D5E-FB76-42DE-8B2D-F3CD5663D813}" dt="2023-04-24T14:40:19.436" v="8065" actId="478"/>
          <pc:sldLayoutMkLst>
            <pc:docMk/>
            <pc:sldMasterMk cId="0" sldId="2147483774"/>
            <pc:sldLayoutMk cId="0" sldId="2147483787"/>
          </pc:sldLayoutMkLst>
          <pc:grpChg chg="del">
            <ac:chgData name="Ashish Mahajan" userId="48565a57b1029db5" providerId="LiveId" clId="{7CA25D5E-FB76-42DE-8B2D-F3CD5663D813}" dt="2023-04-24T14:40:19.436" v="8065" actId="478"/>
            <ac:grpSpMkLst>
              <pc:docMk/>
              <pc:sldMasterMk cId="0" sldId="2147483774"/>
              <pc:sldLayoutMk cId="0" sldId="2147483787"/>
              <ac:grpSpMk id="17" creationId="{00000000-0000-0000-0000-000000000000}"/>
            </ac:grpSpMkLst>
          </pc:grpChg>
          <pc:picChg chg="del">
            <ac:chgData name="Ashish Mahajan" userId="48565a57b1029db5" providerId="LiveId" clId="{7CA25D5E-FB76-42DE-8B2D-F3CD5663D813}" dt="2023-04-24T14:40:19.436" v="8065" actId="478"/>
            <ac:picMkLst>
              <pc:docMk/>
              <pc:sldMasterMk cId="0" sldId="2147483774"/>
              <pc:sldLayoutMk cId="0" sldId="2147483787"/>
              <ac:picMk id="6" creationId="{00000000-0000-0000-0000-000000000000}"/>
            </ac:picMkLst>
          </pc:picChg>
        </pc:sldLayoutChg>
        <pc:sldLayoutChg chg="delSp mod">
          <pc:chgData name="Ashish Mahajan" userId="48565a57b1029db5" providerId="LiveId" clId="{7CA25D5E-FB76-42DE-8B2D-F3CD5663D813}" dt="2023-04-24T14:40:10.909" v="8064" actId="478"/>
          <pc:sldLayoutMkLst>
            <pc:docMk/>
            <pc:sldMasterMk cId="0" sldId="2147483648"/>
            <pc:sldLayoutMk cId="2440753099" sldId="2147483934"/>
          </pc:sldLayoutMkLst>
          <pc:grpChg chg="del">
            <ac:chgData name="Ashish Mahajan" userId="48565a57b1029db5" providerId="LiveId" clId="{7CA25D5E-FB76-42DE-8B2D-F3CD5663D813}" dt="2023-04-24T14:40:10.909" v="8064" actId="478"/>
            <ac:grpSpMkLst>
              <pc:docMk/>
              <pc:sldMasterMk cId="0" sldId="2147483648"/>
              <pc:sldLayoutMk cId="2440753099" sldId="2147483934"/>
              <ac:grpSpMk id="17" creationId="{00000000-0000-0000-0000-000000000000}"/>
            </ac:grpSpMkLst>
          </pc:grpChg>
          <pc:picChg chg="del">
            <ac:chgData name="Ashish Mahajan" userId="48565a57b1029db5" providerId="LiveId" clId="{7CA25D5E-FB76-42DE-8B2D-F3CD5663D813}" dt="2023-04-24T14:40:10.909" v="8064" actId="478"/>
            <ac:picMkLst>
              <pc:docMk/>
              <pc:sldMasterMk cId="0" sldId="2147483648"/>
              <pc:sldLayoutMk cId="2440753099" sldId="2147483934"/>
              <ac:picMk id="6" creationId="{00000000-0000-0000-0000-000000000000}"/>
            </ac:picMkLst>
          </pc:picChg>
        </pc:sldLayoutChg>
      </pc:sldMasterChg>
      <pc:sldMasterChg chg="del delSldLayout">
        <pc:chgData name="Ashish Mahajan" userId="48565a57b1029db5" providerId="LiveId" clId="{7CA25D5E-FB76-42DE-8B2D-F3CD5663D813}" dt="2023-04-24T14:39:21.850" v="8063" actId="47"/>
        <pc:sldMasterMkLst>
          <pc:docMk/>
          <pc:sldMasterMk cId="0" sldId="2147483844"/>
        </pc:sldMasterMkLst>
        <pc:sldLayoutChg chg="del">
          <pc:chgData name="Ashish Mahajan" userId="48565a57b1029db5" providerId="LiveId" clId="{7CA25D5E-FB76-42DE-8B2D-F3CD5663D813}" dt="2023-04-24T14:39:21.850" v="8063" actId="47"/>
          <pc:sldLayoutMkLst>
            <pc:docMk/>
            <pc:sldMasterMk cId="0" sldId="2147483844"/>
            <pc:sldLayoutMk cId="0" sldId="2147483845"/>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46"/>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47"/>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48"/>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49"/>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0"/>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1"/>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2"/>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3"/>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4"/>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5"/>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6"/>
          </pc:sldLayoutMkLst>
        </pc:sldLayoutChg>
        <pc:sldLayoutChg chg="del">
          <pc:chgData name="Ashish Mahajan" userId="48565a57b1029db5" providerId="LiveId" clId="{7CA25D5E-FB76-42DE-8B2D-F3CD5663D813}" dt="2023-04-24T14:39:21.850" v="8063" actId="47"/>
          <pc:sldLayoutMkLst>
            <pc:docMk/>
            <pc:sldMasterMk cId="0" sldId="2147483844"/>
            <pc:sldLayoutMk cId="0" sldId="2147483857"/>
          </pc:sldLayoutMkLst>
        </pc:sldLayoutChg>
      </pc:sldMasterChg>
    </pc:docChg>
  </pc:docChgLst>
  <pc:docChgLst>
    <pc:chgData name="Priya Roy" userId="1bdec0f2-4fa1-4a37-8e18-33e8ca993fc1" providerId="ADAL" clId="{A0419C13-872F-4A90-BE84-F976C2D8A278}"/>
    <pc:docChg chg="undo custSel addSld delSld modSld sldOrd delMainMaster modMainMaster">
      <pc:chgData name="Priya Roy" userId="1bdec0f2-4fa1-4a37-8e18-33e8ca993fc1" providerId="ADAL" clId="{A0419C13-872F-4A90-BE84-F976C2D8A278}" dt="2023-04-23T16:58:28.780" v="1225"/>
      <pc:docMkLst>
        <pc:docMk/>
      </pc:docMkLst>
      <pc:sldChg chg="modSp add mod">
        <pc:chgData name="Priya Roy" userId="1bdec0f2-4fa1-4a37-8e18-33e8ca993fc1" providerId="ADAL" clId="{A0419C13-872F-4A90-BE84-F976C2D8A278}" dt="2023-04-23T14:24:09.175" v="635" actId="20577"/>
        <pc:sldMkLst>
          <pc:docMk/>
          <pc:sldMk cId="0" sldId="260"/>
        </pc:sldMkLst>
        <pc:spChg chg="mod">
          <ac:chgData name="Priya Roy" userId="1bdec0f2-4fa1-4a37-8e18-33e8ca993fc1" providerId="ADAL" clId="{A0419C13-872F-4A90-BE84-F976C2D8A278}" dt="2023-04-23T14:19:36.203" v="572" actId="1076"/>
          <ac:spMkLst>
            <pc:docMk/>
            <pc:sldMk cId="0" sldId="260"/>
            <ac:spMk id="144" creationId="{00000000-0000-0000-0000-000000000000}"/>
          </ac:spMkLst>
        </pc:spChg>
        <pc:spChg chg="mod">
          <ac:chgData name="Priya Roy" userId="1bdec0f2-4fa1-4a37-8e18-33e8ca993fc1" providerId="ADAL" clId="{A0419C13-872F-4A90-BE84-F976C2D8A278}" dt="2023-04-23T14:24:09.175" v="635" actId="20577"/>
          <ac:spMkLst>
            <pc:docMk/>
            <pc:sldMk cId="0" sldId="260"/>
            <ac:spMk id="145" creationId="{00000000-0000-0000-0000-000000000000}"/>
          </ac:spMkLst>
        </pc:spChg>
      </pc:sldChg>
      <pc:sldChg chg="addSp delSp modSp add mod ord">
        <pc:chgData name="Priya Roy" userId="1bdec0f2-4fa1-4a37-8e18-33e8ca993fc1" providerId="ADAL" clId="{A0419C13-872F-4A90-BE84-F976C2D8A278}" dt="2023-04-23T15:14:49.599" v="1209" actId="1076"/>
        <pc:sldMkLst>
          <pc:docMk/>
          <pc:sldMk cId="0" sldId="275"/>
        </pc:sldMkLst>
        <pc:spChg chg="mod">
          <ac:chgData name="Priya Roy" userId="1bdec0f2-4fa1-4a37-8e18-33e8ca993fc1" providerId="ADAL" clId="{A0419C13-872F-4A90-BE84-F976C2D8A278}" dt="2023-04-23T14:17:05.708" v="564" actId="2711"/>
          <ac:spMkLst>
            <pc:docMk/>
            <pc:sldMk cId="0" sldId="275"/>
            <ac:spMk id="375" creationId="{00000000-0000-0000-0000-000000000000}"/>
          </ac:spMkLst>
        </pc:spChg>
        <pc:spChg chg="del mod">
          <ac:chgData name="Priya Roy" userId="1bdec0f2-4fa1-4a37-8e18-33e8ca993fc1" providerId="ADAL" clId="{A0419C13-872F-4A90-BE84-F976C2D8A278}" dt="2023-04-23T14:20:09.784" v="573" actId="478"/>
          <ac:spMkLst>
            <pc:docMk/>
            <pc:sldMk cId="0" sldId="275"/>
            <ac:spMk id="376" creationId="{00000000-0000-0000-0000-000000000000}"/>
          </ac:spMkLst>
        </pc:spChg>
        <pc:spChg chg="mod">
          <ac:chgData name="Priya Roy" userId="1bdec0f2-4fa1-4a37-8e18-33e8ca993fc1" providerId="ADAL" clId="{A0419C13-872F-4A90-BE84-F976C2D8A278}" dt="2023-04-23T14:17:05.708" v="564" actId="2711"/>
          <ac:spMkLst>
            <pc:docMk/>
            <pc:sldMk cId="0" sldId="275"/>
            <ac:spMk id="378" creationId="{00000000-0000-0000-0000-000000000000}"/>
          </ac:spMkLst>
        </pc:spChg>
        <pc:spChg chg="mod">
          <ac:chgData name="Priya Roy" userId="1bdec0f2-4fa1-4a37-8e18-33e8ca993fc1" providerId="ADAL" clId="{A0419C13-872F-4A90-BE84-F976C2D8A278}" dt="2023-04-23T14:23:36.176" v="626" actId="33524"/>
          <ac:spMkLst>
            <pc:docMk/>
            <pc:sldMk cId="0" sldId="275"/>
            <ac:spMk id="379" creationId="{00000000-0000-0000-0000-000000000000}"/>
          </ac:spMkLst>
        </pc:spChg>
        <pc:spChg chg="mod">
          <ac:chgData name="Priya Roy" userId="1bdec0f2-4fa1-4a37-8e18-33e8ca993fc1" providerId="ADAL" clId="{A0419C13-872F-4A90-BE84-F976C2D8A278}" dt="2023-04-23T15:14:49.599" v="1209" actId="1076"/>
          <ac:spMkLst>
            <pc:docMk/>
            <pc:sldMk cId="0" sldId="275"/>
            <ac:spMk id="380" creationId="{00000000-0000-0000-0000-000000000000}"/>
          </ac:spMkLst>
        </pc:spChg>
        <pc:spChg chg="mod">
          <ac:chgData name="Priya Roy" userId="1bdec0f2-4fa1-4a37-8e18-33e8ca993fc1" providerId="ADAL" clId="{A0419C13-872F-4A90-BE84-F976C2D8A278}" dt="2023-04-23T15:14:49.599" v="1209" actId="1076"/>
          <ac:spMkLst>
            <pc:docMk/>
            <pc:sldMk cId="0" sldId="275"/>
            <ac:spMk id="381" creationId="{00000000-0000-0000-0000-000000000000}"/>
          </ac:spMkLst>
        </pc:spChg>
        <pc:spChg chg="mod">
          <ac:chgData name="Priya Roy" userId="1bdec0f2-4fa1-4a37-8e18-33e8ca993fc1" providerId="ADAL" clId="{A0419C13-872F-4A90-BE84-F976C2D8A278}" dt="2023-04-23T15:14:49.599" v="1209" actId="1076"/>
          <ac:spMkLst>
            <pc:docMk/>
            <pc:sldMk cId="0" sldId="275"/>
            <ac:spMk id="382" creationId="{00000000-0000-0000-0000-000000000000}"/>
          </ac:spMkLst>
        </pc:spChg>
        <pc:spChg chg="mod">
          <ac:chgData name="Priya Roy" userId="1bdec0f2-4fa1-4a37-8e18-33e8ca993fc1" providerId="ADAL" clId="{A0419C13-872F-4A90-BE84-F976C2D8A278}" dt="2023-04-23T15:14:49.599" v="1209" actId="1076"/>
          <ac:spMkLst>
            <pc:docMk/>
            <pc:sldMk cId="0" sldId="275"/>
            <ac:spMk id="383" creationId="{00000000-0000-0000-0000-000000000000}"/>
          </ac:spMkLst>
        </pc:spChg>
        <pc:picChg chg="add del mod">
          <ac:chgData name="Priya Roy" userId="1bdec0f2-4fa1-4a37-8e18-33e8ca993fc1" providerId="ADAL" clId="{A0419C13-872F-4A90-BE84-F976C2D8A278}" dt="2023-04-23T14:22:49.196" v="601" actId="478"/>
          <ac:picMkLst>
            <pc:docMk/>
            <pc:sldMk cId="0" sldId="275"/>
            <ac:picMk id="2" creationId="{631131DB-BF98-6F48-9290-62B3217BD7EA}"/>
          </ac:picMkLst>
        </pc:picChg>
      </pc:sldChg>
      <pc:sldChg chg="modSp add del mod">
        <pc:chgData name="Priya Roy" userId="1bdec0f2-4fa1-4a37-8e18-33e8ca993fc1" providerId="ADAL" clId="{A0419C13-872F-4A90-BE84-F976C2D8A278}" dt="2023-04-23T16:58:14.334" v="1221" actId="47"/>
        <pc:sldMkLst>
          <pc:docMk/>
          <pc:sldMk cId="0" sldId="277"/>
        </pc:sldMkLst>
        <pc:spChg chg="mod">
          <ac:chgData name="Priya Roy" userId="1bdec0f2-4fa1-4a37-8e18-33e8ca993fc1" providerId="ADAL" clId="{A0419C13-872F-4A90-BE84-F976C2D8A278}" dt="2023-04-23T14:27:11.743" v="639" actId="1076"/>
          <ac:spMkLst>
            <pc:docMk/>
            <pc:sldMk cId="0" sldId="277"/>
            <ac:spMk id="395" creationId="{00000000-0000-0000-0000-000000000000}"/>
          </ac:spMkLst>
        </pc:spChg>
      </pc:sldChg>
      <pc:sldChg chg="modSp add del mod">
        <pc:chgData name="Priya Roy" userId="1bdec0f2-4fa1-4a37-8e18-33e8ca993fc1" providerId="ADAL" clId="{A0419C13-872F-4A90-BE84-F976C2D8A278}" dt="2023-04-23T16:58:28.780" v="1225"/>
        <pc:sldMkLst>
          <pc:docMk/>
          <pc:sldMk cId="0" sldId="278"/>
        </pc:sldMkLst>
        <pc:spChg chg="mod">
          <ac:chgData name="Priya Roy" userId="1bdec0f2-4fa1-4a37-8e18-33e8ca993fc1" providerId="ADAL" clId="{A0419C13-872F-4A90-BE84-F976C2D8A278}" dt="2023-04-23T14:31:51.770" v="641" actId="6549"/>
          <ac:spMkLst>
            <pc:docMk/>
            <pc:sldMk cId="0" sldId="278"/>
            <ac:spMk id="403" creationId="{00000000-0000-0000-0000-000000000000}"/>
          </ac:spMkLst>
        </pc:spChg>
      </pc:sldChg>
      <pc:sldChg chg="modSp add mod setBg">
        <pc:chgData name="Priya Roy" userId="1bdec0f2-4fa1-4a37-8e18-33e8ca993fc1" providerId="ADAL" clId="{A0419C13-872F-4A90-BE84-F976C2D8A278}" dt="2023-04-23T14:41:37.269" v="736" actId="14100"/>
        <pc:sldMkLst>
          <pc:docMk/>
          <pc:sldMk cId="2875600140" sldId="279"/>
        </pc:sldMkLst>
        <pc:spChg chg="mod">
          <ac:chgData name="Priya Roy" userId="1bdec0f2-4fa1-4a37-8e18-33e8ca993fc1" providerId="ADAL" clId="{A0419C13-872F-4A90-BE84-F976C2D8A278}" dt="2023-04-23T14:41:37.269" v="736" actId="14100"/>
          <ac:spMkLst>
            <pc:docMk/>
            <pc:sldMk cId="2875600140" sldId="279"/>
            <ac:spMk id="32" creationId="{9AF22635-8B84-1A97-5FBB-952243903C13}"/>
          </ac:spMkLst>
        </pc:spChg>
      </pc:sldChg>
      <pc:sldChg chg="del">
        <pc:chgData name="Priya Roy" userId="1bdec0f2-4fa1-4a37-8e18-33e8ca993fc1" providerId="ADAL" clId="{A0419C13-872F-4A90-BE84-F976C2D8A278}" dt="2023-04-23T12:30:06.583" v="131" actId="47"/>
        <pc:sldMkLst>
          <pc:docMk/>
          <pc:sldMk cId="0" sldId="280"/>
        </pc:sldMkLst>
      </pc:sldChg>
      <pc:sldChg chg="delSp modSp add del mod ord setBg">
        <pc:chgData name="Priya Roy" userId="1bdec0f2-4fa1-4a37-8e18-33e8ca993fc1" providerId="ADAL" clId="{A0419C13-872F-4A90-BE84-F976C2D8A278}" dt="2023-04-23T14:40:31.915" v="680" actId="47"/>
        <pc:sldMkLst>
          <pc:docMk/>
          <pc:sldMk cId="2912860317" sldId="281"/>
        </pc:sldMkLst>
        <pc:spChg chg="mod">
          <ac:chgData name="Priya Roy" userId="1bdec0f2-4fa1-4a37-8e18-33e8ca993fc1" providerId="ADAL" clId="{A0419C13-872F-4A90-BE84-F976C2D8A278}" dt="2023-04-23T14:39:23.136" v="679" actId="20577"/>
          <ac:spMkLst>
            <pc:docMk/>
            <pc:sldMk cId="2912860317" sldId="281"/>
            <ac:spMk id="6" creationId="{2E72F1F0-2D43-90A8-B070-5ADE24C8D7E7}"/>
          </ac:spMkLst>
        </pc:spChg>
        <pc:picChg chg="del">
          <ac:chgData name="Priya Roy" userId="1bdec0f2-4fa1-4a37-8e18-33e8ca993fc1" providerId="ADAL" clId="{A0419C13-872F-4A90-BE84-F976C2D8A278}" dt="2023-04-23T14:37:57.457" v="666" actId="478"/>
          <ac:picMkLst>
            <pc:docMk/>
            <pc:sldMk cId="2912860317" sldId="281"/>
            <ac:picMk id="7" creationId="{7313649D-5190-6D5E-1C5F-4F3501DB8FC8}"/>
          </ac:picMkLst>
        </pc:picChg>
        <pc:picChg chg="mod">
          <ac:chgData name="Priya Roy" userId="1bdec0f2-4fa1-4a37-8e18-33e8ca993fc1" providerId="ADAL" clId="{A0419C13-872F-4A90-BE84-F976C2D8A278}" dt="2023-04-23T14:38:04.840" v="669" actId="14100"/>
          <ac:picMkLst>
            <pc:docMk/>
            <pc:sldMk cId="2912860317" sldId="281"/>
            <ac:picMk id="8" creationId="{1B0DF855-38B4-B535-FE12-FF596885CEA9}"/>
          </ac:picMkLst>
        </pc:picChg>
      </pc:sldChg>
      <pc:sldChg chg="addSp delSp modSp add mod ord">
        <pc:chgData name="Priya Roy" userId="1bdec0f2-4fa1-4a37-8e18-33e8ca993fc1" providerId="ADAL" clId="{A0419C13-872F-4A90-BE84-F976C2D8A278}" dt="2023-04-23T15:03:22.926" v="851" actId="20577"/>
        <pc:sldMkLst>
          <pc:docMk/>
          <pc:sldMk cId="0" sldId="282"/>
        </pc:sldMkLst>
        <pc:spChg chg="mod">
          <ac:chgData name="Priya Roy" userId="1bdec0f2-4fa1-4a37-8e18-33e8ca993fc1" providerId="ADAL" clId="{A0419C13-872F-4A90-BE84-F976C2D8A278}" dt="2023-04-23T15:02:31.327" v="789" actId="2711"/>
          <ac:spMkLst>
            <pc:docMk/>
            <pc:sldMk cId="0" sldId="282"/>
            <ac:spMk id="433" creationId="{00000000-0000-0000-0000-000000000000}"/>
          </ac:spMkLst>
        </pc:spChg>
        <pc:spChg chg="mod">
          <ac:chgData name="Priya Roy" userId="1bdec0f2-4fa1-4a37-8e18-33e8ca993fc1" providerId="ADAL" clId="{A0419C13-872F-4A90-BE84-F976C2D8A278}" dt="2023-04-23T15:02:31.327" v="789" actId="2711"/>
          <ac:spMkLst>
            <pc:docMk/>
            <pc:sldMk cId="0" sldId="282"/>
            <ac:spMk id="434" creationId="{00000000-0000-0000-0000-000000000000}"/>
          </ac:spMkLst>
        </pc:spChg>
        <pc:spChg chg="mod">
          <ac:chgData name="Priya Roy" userId="1bdec0f2-4fa1-4a37-8e18-33e8ca993fc1" providerId="ADAL" clId="{A0419C13-872F-4A90-BE84-F976C2D8A278}" dt="2023-04-23T15:03:22.926" v="851" actId="20577"/>
          <ac:spMkLst>
            <pc:docMk/>
            <pc:sldMk cId="0" sldId="282"/>
            <ac:spMk id="435" creationId="{00000000-0000-0000-0000-000000000000}"/>
          </ac:spMkLst>
        </pc:spChg>
        <pc:spChg chg="mod">
          <ac:chgData name="Priya Roy" userId="1bdec0f2-4fa1-4a37-8e18-33e8ca993fc1" providerId="ADAL" clId="{A0419C13-872F-4A90-BE84-F976C2D8A278}" dt="2023-04-23T15:02:31.327" v="789" actId="2711"/>
          <ac:spMkLst>
            <pc:docMk/>
            <pc:sldMk cId="0" sldId="282"/>
            <ac:spMk id="438" creationId="{00000000-0000-0000-0000-000000000000}"/>
          </ac:spMkLst>
        </pc:spChg>
        <pc:spChg chg="mod">
          <ac:chgData name="Priya Roy" userId="1bdec0f2-4fa1-4a37-8e18-33e8ca993fc1" providerId="ADAL" clId="{A0419C13-872F-4A90-BE84-F976C2D8A278}" dt="2023-04-23T15:02:31.327" v="789" actId="2711"/>
          <ac:spMkLst>
            <pc:docMk/>
            <pc:sldMk cId="0" sldId="282"/>
            <ac:spMk id="439" creationId="{00000000-0000-0000-0000-000000000000}"/>
          </ac:spMkLst>
        </pc:spChg>
        <pc:picChg chg="add mod modCrop">
          <ac:chgData name="Priya Roy" userId="1bdec0f2-4fa1-4a37-8e18-33e8ca993fc1" providerId="ADAL" clId="{A0419C13-872F-4A90-BE84-F976C2D8A278}" dt="2023-04-23T14:58:50.521" v="750" actId="14100"/>
          <ac:picMkLst>
            <pc:docMk/>
            <pc:sldMk cId="0" sldId="282"/>
            <ac:picMk id="3" creationId="{EC412B99-CB21-4216-89C4-A02C132BF3CA}"/>
          </ac:picMkLst>
        </pc:picChg>
        <pc:picChg chg="add mod modCrop">
          <ac:chgData name="Priya Roy" userId="1bdec0f2-4fa1-4a37-8e18-33e8ca993fc1" providerId="ADAL" clId="{A0419C13-872F-4A90-BE84-F976C2D8A278}" dt="2023-04-23T14:59:51.230" v="761" actId="1076"/>
          <ac:picMkLst>
            <pc:docMk/>
            <pc:sldMk cId="0" sldId="282"/>
            <ac:picMk id="5" creationId="{6232EFB4-601D-48DA-9F4F-A4B32780D7CE}"/>
          </ac:picMkLst>
        </pc:picChg>
        <pc:picChg chg="add mod modCrop">
          <ac:chgData name="Priya Roy" userId="1bdec0f2-4fa1-4a37-8e18-33e8ca993fc1" providerId="ADAL" clId="{A0419C13-872F-4A90-BE84-F976C2D8A278}" dt="2023-04-23T15:01:14.773" v="776" actId="1076"/>
          <ac:picMkLst>
            <pc:docMk/>
            <pc:sldMk cId="0" sldId="282"/>
            <ac:picMk id="7" creationId="{FFBE2573-6AD8-4C54-B99B-2FF8DF69E8AB}"/>
          </ac:picMkLst>
        </pc:picChg>
        <pc:picChg chg="add mod modCrop">
          <ac:chgData name="Priya Roy" userId="1bdec0f2-4fa1-4a37-8e18-33e8ca993fc1" providerId="ADAL" clId="{A0419C13-872F-4A90-BE84-F976C2D8A278}" dt="2023-04-23T15:02:18.640" v="787" actId="14100"/>
          <ac:picMkLst>
            <pc:docMk/>
            <pc:sldMk cId="0" sldId="282"/>
            <ac:picMk id="9" creationId="{4D90DEE2-B2F0-4D46-BBC4-56D1AEEE154C}"/>
          </ac:picMkLst>
        </pc:picChg>
        <pc:picChg chg="add del mod">
          <ac:chgData name="Priya Roy" userId="1bdec0f2-4fa1-4a37-8e18-33e8ca993fc1" providerId="ADAL" clId="{A0419C13-872F-4A90-BE84-F976C2D8A278}" dt="2023-04-23T14:58:22.998" v="739" actId="478"/>
          <ac:picMkLst>
            <pc:docMk/>
            <pc:sldMk cId="0" sldId="282"/>
            <ac:picMk id="11" creationId="{16FE8B88-4F02-466C-B919-9F4B1F904FDC}"/>
          </ac:picMkLst>
        </pc:picChg>
        <pc:picChg chg="add del">
          <ac:chgData name="Priya Roy" userId="1bdec0f2-4fa1-4a37-8e18-33e8ca993fc1" providerId="ADAL" clId="{A0419C13-872F-4A90-BE84-F976C2D8A278}" dt="2023-04-23T14:34:32.493" v="649" actId="478"/>
          <ac:picMkLst>
            <pc:docMk/>
            <pc:sldMk cId="0" sldId="282"/>
            <ac:picMk id="436" creationId="{00000000-0000-0000-0000-000000000000}"/>
          </ac:picMkLst>
        </pc:picChg>
        <pc:picChg chg="del mod">
          <ac:chgData name="Priya Roy" userId="1bdec0f2-4fa1-4a37-8e18-33e8ca993fc1" providerId="ADAL" clId="{A0419C13-872F-4A90-BE84-F976C2D8A278}" dt="2023-04-23T15:00:01.002" v="762" actId="478"/>
          <ac:picMkLst>
            <pc:docMk/>
            <pc:sldMk cId="0" sldId="282"/>
            <ac:picMk id="437" creationId="{00000000-0000-0000-0000-000000000000}"/>
          </ac:picMkLst>
        </pc:picChg>
        <pc:picChg chg="del mod">
          <ac:chgData name="Priya Roy" userId="1bdec0f2-4fa1-4a37-8e18-33e8ca993fc1" providerId="ADAL" clId="{A0419C13-872F-4A90-BE84-F976C2D8A278}" dt="2023-04-23T14:58:52.828" v="751" actId="478"/>
          <ac:picMkLst>
            <pc:docMk/>
            <pc:sldMk cId="0" sldId="282"/>
            <ac:picMk id="440" creationId="{00000000-0000-0000-0000-000000000000}"/>
          </ac:picMkLst>
        </pc:picChg>
        <pc:picChg chg="del mod">
          <ac:chgData name="Priya Roy" userId="1bdec0f2-4fa1-4a37-8e18-33e8ca993fc1" providerId="ADAL" clId="{A0419C13-872F-4A90-BE84-F976C2D8A278}" dt="2023-04-23T15:01:16.241" v="777" actId="478"/>
          <ac:picMkLst>
            <pc:docMk/>
            <pc:sldMk cId="0" sldId="282"/>
            <ac:picMk id="441" creationId="{00000000-0000-0000-0000-000000000000}"/>
          </ac:picMkLst>
        </pc:picChg>
      </pc:sldChg>
      <pc:sldChg chg="add del setBg">
        <pc:chgData name="Priya Roy" userId="1bdec0f2-4fa1-4a37-8e18-33e8ca993fc1" providerId="ADAL" clId="{A0419C13-872F-4A90-BE84-F976C2D8A278}" dt="2023-04-23T14:37:09.452" v="662" actId="47"/>
        <pc:sldMkLst>
          <pc:docMk/>
          <pc:sldMk cId="778179245" sldId="283"/>
        </pc:sldMkLst>
      </pc:sldChg>
      <pc:sldChg chg="modSp add mod setBg">
        <pc:chgData name="Priya Roy" userId="1bdec0f2-4fa1-4a37-8e18-33e8ca993fc1" providerId="ADAL" clId="{A0419C13-872F-4A90-BE84-F976C2D8A278}" dt="2023-04-23T14:47:37.428" v="738" actId="1076"/>
        <pc:sldMkLst>
          <pc:docMk/>
          <pc:sldMk cId="904314509" sldId="289"/>
        </pc:sldMkLst>
        <pc:picChg chg="mod">
          <ac:chgData name="Priya Roy" userId="1bdec0f2-4fa1-4a37-8e18-33e8ca993fc1" providerId="ADAL" clId="{A0419C13-872F-4A90-BE84-F976C2D8A278}" dt="2023-04-23T14:47:37.428" v="738" actId="1076"/>
          <ac:picMkLst>
            <pc:docMk/>
            <pc:sldMk cId="904314509" sldId="289"/>
            <ac:picMk id="5" creationId="{246C7954-6395-CC8A-8C4B-EF628BB7616A}"/>
          </ac:picMkLst>
        </pc:picChg>
      </pc:sldChg>
      <pc:sldChg chg="add setBg">
        <pc:chgData name="Priya Roy" userId="1bdec0f2-4fa1-4a37-8e18-33e8ca993fc1" providerId="ADAL" clId="{A0419C13-872F-4A90-BE84-F976C2D8A278}" dt="2023-04-23T12:29:55.585" v="130"/>
        <pc:sldMkLst>
          <pc:docMk/>
          <pc:sldMk cId="4084799214" sldId="290"/>
        </pc:sldMkLst>
      </pc:sldChg>
      <pc:sldChg chg="addSp modSp mod">
        <pc:chgData name="Priya Roy" userId="1bdec0f2-4fa1-4a37-8e18-33e8ca993fc1" providerId="ADAL" clId="{A0419C13-872F-4A90-BE84-F976C2D8A278}" dt="2023-04-23T15:13:15.216" v="1154" actId="14100"/>
        <pc:sldMkLst>
          <pc:docMk/>
          <pc:sldMk cId="0" sldId="302"/>
        </pc:sldMkLst>
        <pc:spChg chg="mod">
          <ac:chgData name="Priya Roy" userId="1bdec0f2-4fa1-4a37-8e18-33e8ca993fc1" providerId="ADAL" clId="{A0419C13-872F-4A90-BE84-F976C2D8A278}" dt="2023-04-23T15:13:05.451" v="1140" actId="1076"/>
          <ac:spMkLst>
            <pc:docMk/>
            <pc:sldMk cId="0" sldId="302"/>
            <ac:spMk id="7" creationId="{00000000-0000-0000-0000-000000000000}"/>
          </ac:spMkLst>
        </pc:spChg>
        <pc:spChg chg="add mod ord">
          <ac:chgData name="Priya Roy" userId="1bdec0f2-4fa1-4a37-8e18-33e8ca993fc1" providerId="ADAL" clId="{A0419C13-872F-4A90-BE84-F976C2D8A278}" dt="2023-04-23T15:12:59.244" v="1139" actId="166"/>
          <ac:spMkLst>
            <pc:docMk/>
            <pc:sldMk cId="0" sldId="302"/>
            <ac:spMk id="11" creationId="{CA2EB50D-CB64-4DCD-8FBA-E9D90C5FBA16}"/>
          </ac:spMkLst>
        </pc:spChg>
        <pc:spChg chg="add mod">
          <ac:chgData name="Priya Roy" userId="1bdec0f2-4fa1-4a37-8e18-33e8ca993fc1" providerId="ADAL" clId="{A0419C13-872F-4A90-BE84-F976C2D8A278}" dt="2023-04-23T15:13:15.216" v="1154" actId="14100"/>
          <ac:spMkLst>
            <pc:docMk/>
            <pc:sldMk cId="0" sldId="302"/>
            <ac:spMk id="12" creationId="{E8E58E3C-DDD0-46FC-A81D-E95E3884D6AE}"/>
          </ac:spMkLst>
        </pc:spChg>
      </pc:sldChg>
      <pc:sldChg chg="del">
        <pc:chgData name="Priya Roy" userId="1bdec0f2-4fa1-4a37-8e18-33e8ca993fc1" providerId="ADAL" clId="{A0419C13-872F-4A90-BE84-F976C2D8A278}" dt="2023-04-23T12:21:03.116" v="4" actId="47"/>
        <pc:sldMkLst>
          <pc:docMk/>
          <pc:sldMk cId="0" sldId="308"/>
        </pc:sldMkLst>
      </pc:sldChg>
      <pc:sldChg chg="addSp delSp modSp del mod">
        <pc:chgData name="Priya Roy" userId="1bdec0f2-4fa1-4a37-8e18-33e8ca993fc1" providerId="ADAL" clId="{A0419C13-872F-4A90-BE84-F976C2D8A278}" dt="2023-04-23T13:39:45.320" v="248" actId="47"/>
        <pc:sldMkLst>
          <pc:docMk/>
          <pc:sldMk cId="0" sldId="309"/>
        </pc:sldMkLst>
        <pc:spChg chg="del">
          <ac:chgData name="Priya Roy" userId="1bdec0f2-4fa1-4a37-8e18-33e8ca993fc1" providerId="ADAL" clId="{A0419C13-872F-4A90-BE84-F976C2D8A278}" dt="2023-04-23T12:25:01.419" v="49" actId="478"/>
          <ac:spMkLst>
            <pc:docMk/>
            <pc:sldMk cId="0" sldId="309"/>
            <ac:spMk id="2" creationId="{00000000-0000-0000-0000-000000000000}"/>
          </ac:spMkLst>
        </pc:spChg>
        <pc:spChg chg="mod">
          <ac:chgData name="Priya Roy" userId="1bdec0f2-4fa1-4a37-8e18-33e8ca993fc1" providerId="ADAL" clId="{A0419C13-872F-4A90-BE84-F976C2D8A278}" dt="2023-04-23T12:25:30.859" v="70" actId="2711"/>
          <ac:spMkLst>
            <pc:docMk/>
            <pc:sldMk cId="0" sldId="309"/>
            <ac:spMk id="3" creationId="{00000000-0000-0000-0000-000000000000}"/>
          </ac:spMkLst>
        </pc:spChg>
        <pc:spChg chg="add del mod">
          <ac:chgData name="Priya Roy" userId="1bdec0f2-4fa1-4a37-8e18-33e8ca993fc1" providerId="ADAL" clId="{A0419C13-872F-4A90-BE84-F976C2D8A278}" dt="2023-04-23T12:25:06.624" v="51" actId="478"/>
          <ac:spMkLst>
            <pc:docMk/>
            <pc:sldMk cId="0" sldId="309"/>
            <ac:spMk id="5" creationId="{4C6284B3-F5B3-40E9-9E54-B17F6850E4AF}"/>
          </ac:spMkLst>
        </pc:spChg>
        <pc:spChg chg="add mod">
          <ac:chgData name="Priya Roy" userId="1bdec0f2-4fa1-4a37-8e18-33e8ca993fc1" providerId="ADAL" clId="{A0419C13-872F-4A90-BE84-F976C2D8A278}" dt="2023-04-23T12:25:40.101" v="71" actId="404"/>
          <ac:spMkLst>
            <pc:docMk/>
            <pc:sldMk cId="0" sldId="309"/>
            <ac:spMk id="8" creationId="{ECFF8088-64F2-47E8-B2DB-DA98A16A3130}"/>
          </ac:spMkLst>
        </pc:spChg>
        <pc:spChg chg="del">
          <ac:chgData name="Priya Roy" userId="1bdec0f2-4fa1-4a37-8e18-33e8ca993fc1" providerId="ADAL" clId="{A0419C13-872F-4A90-BE84-F976C2D8A278}" dt="2023-04-23T12:25:03.814" v="50" actId="478"/>
          <ac:spMkLst>
            <pc:docMk/>
            <pc:sldMk cId="0" sldId="309"/>
            <ac:spMk id="26" creationId="{00000000-0000-0000-0000-000000000000}"/>
          </ac:spMkLst>
        </pc:spChg>
        <pc:picChg chg="del">
          <ac:chgData name="Priya Roy" userId="1bdec0f2-4fa1-4a37-8e18-33e8ca993fc1" providerId="ADAL" clId="{A0419C13-872F-4A90-BE84-F976C2D8A278}" dt="2023-04-23T12:24:59.471" v="48" actId="478"/>
          <ac:picMkLst>
            <pc:docMk/>
            <pc:sldMk cId="0" sldId="309"/>
            <ac:picMk id="10" creationId="{00000000-0000-0000-0000-000000000000}"/>
          </ac:picMkLst>
        </pc:picChg>
      </pc:sldChg>
      <pc:sldChg chg="del">
        <pc:chgData name="Priya Roy" userId="1bdec0f2-4fa1-4a37-8e18-33e8ca993fc1" providerId="ADAL" clId="{A0419C13-872F-4A90-BE84-F976C2D8A278}" dt="2023-04-23T12:30:06.583" v="131" actId="47"/>
        <pc:sldMkLst>
          <pc:docMk/>
          <pc:sldMk cId="0" sldId="310"/>
        </pc:sldMkLst>
      </pc:sldChg>
      <pc:sldChg chg="addSp delSp modSp mod">
        <pc:chgData name="Priya Roy" userId="1bdec0f2-4fa1-4a37-8e18-33e8ca993fc1" providerId="ADAL" clId="{A0419C13-872F-4A90-BE84-F976C2D8A278}" dt="2023-04-23T14:08:12.973" v="562" actId="404"/>
        <pc:sldMkLst>
          <pc:docMk/>
          <pc:sldMk cId="0" sldId="317"/>
        </pc:sldMkLst>
        <pc:spChg chg="mod">
          <ac:chgData name="Priya Roy" userId="1bdec0f2-4fa1-4a37-8e18-33e8ca993fc1" providerId="ADAL" clId="{A0419C13-872F-4A90-BE84-F976C2D8A278}" dt="2023-04-23T12:26:07.562" v="82" actId="14100"/>
          <ac:spMkLst>
            <pc:docMk/>
            <pc:sldMk cId="0" sldId="317"/>
            <ac:spMk id="2" creationId="{00000000-0000-0000-0000-000000000000}"/>
          </ac:spMkLst>
        </pc:spChg>
        <pc:spChg chg="del mod">
          <ac:chgData name="Priya Roy" userId="1bdec0f2-4fa1-4a37-8e18-33e8ca993fc1" providerId="ADAL" clId="{A0419C13-872F-4A90-BE84-F976C2D8A278}" dt="2023-04-23T12:26:38.069" v="90" actId="478"/>
          <ac:spMkLst>
            <pc:docMk/>
            <pc:sldMk cId="0" sldId="317"/>
            <ac:spMk id="3" creationId="{00000000-0000-0000-0000-000000000000}"/>
          </ac:spMkLst>
        </pc:spChg>
        <pc:spChg chg="mod">
          <ac:chgData name="Priya Roy" userId="1bdec0f2-4fa1-4a37-8e18-33e8ca993fc1" providerId="ADAL" clId="{A0419C13-872F-4A90-BE84-F976C2D8A278}" dt="2023-04-23T14:08:12.973" v="562" actId="404"/>
          <ac:spMkLst>
            <pc:docMk/>
            <pc:sldMk cId="0" sldId="317"/>
            <ac:spMk id="5" creationId="{00000000-0000-0000-0000-000000000000}"/>
          </ac:spMkLst>
        </pc:spChg>
        <pc:spChg chg="add mod">
          <ac:chgData name="Priya Roy" userId="1bdec0f2-4fa1-4a37-8e18-33e8ca993fc1" providerId="ADAL" clId="{A0419C13-872F-4A90-BE84-F976C2D8A278}" dt="2023-04-23T12:28:39.694" v="123" actId="207"/>
          <ac:spMkLst>
            <pc:docMk/>
            <pc:sldMk cId="0" sldId="317"/>
            <ac:spMk id="11" creationId="{449A52BE-408A-4EC9-8342-F781030AEE53}"/>
          </ac:spMkLst>
        </pc:spChg>
        <pc:picChg chg="del">
          <ac:chgData name="Priya Roy" userId="1bdec0f2-4fa1-4a37-8e18-33e8ca993fc1" providerId="ADAL" clId="{A0419C13-872F-4A90-BE84-F976C2D8A278}" dt="2023-04-23T12:26:23.037" v="85" actId="478"/>
          <ac:picMkLst>
            <pc:docMk/>
            <pc:sldMk cId="0" sldId="317"/>
            <ac:picMk id="6" creationId="{00000000-0000-0000-0000-000000000000}"/>
          </ac:picMkLst>
        </pc:picChg>
        <pc:picChg chg="del">
          <ac:chgData name="Priya Roy" userId="1bdec0f2-4fa1-4a37-8e18-33e8ca993fc1" providerId="ADAL" clId="{A0419C13-872F-4A90-BE84-F976C2D8A278}" dt="2023-04-23T12:26:21.318" v="84" actId="478"/>
          <ac:picMkLst>
            <pc:docMk/>
            <pc:sldMk cId="0" sldId="317"/>
            <ac:picMk id="7" creationId="{00000000-0000-0000-0000-000000000000}"/>
          </ac:picMkLst>
        </pc:picChg>
        <pc:picChg chg="add del">
          <ac:chgData name="Priya Roy" userId="1bdec0f2-4fa1-4a37-8e18-33e8ca993fc1" providerId="ADAL" clId="{A0419C13-872F-4A90-BE84-F976C2D8A278}" dt="2023-04-23T12:26:21.318" v="84" actId="478"/>
          <ac:picMkLst>
            <pc:docMk/>
            <pc:sldMk cId="0" sldId="317"/>
            <ac:picMk id="11266" creationId="{BFFD8DA8-BA2B-4F6A-A703-570C6BFC4F22}"/>
          </ac:picMkLst>
        </pc:picChg>
        <pc:picChg chg="add mod">
          <ac:chgData name="Priya Roy" userId="1bdec0f2-4fa1-4a37-8e18-33e8ca993fc1" providerId="ADAL" clId="{A0419C13-872F-4A90-BE84-F976C2D8A278}" dt="2023-04-23T12:26:26.035" v="87" actId="1076"/>
          <ac:picMkLst>
            <pc:docMk/>
            <pc:sldMk cId="0" sldId="317"/>
            <ac:picMk id="11268" creationId="{9E2AF08B-827D-4518-8BC0-C23CD14309B5}"/>
          </ac:picMkLst>
        </pc:picChg>
      </pc:sldChg>
      <pc:sldChg chg="addSp delSp modSp mod ord">
        <pc:chgData name="Priya Roy" userId="1bdec0f2-4fa1-4a37-8e18-33e8ca993fc1" providerId="ADAL" clId="{A0419C13-872F-4A90-BE84-F976C2D8A278}" dt="2023-04-23T14:03:02.799" v="484"/>
        <pc:sldMkLst>
          <pc:docMk/>
          <pc:sldMk cId="0" sldId="321"/>
        </pc:sldMkLst>
        <pc:spChg chg="mod">
          <ac:chgData name="Priya Roy" userId="1bdec0f2-4fa1-4a37-8e18-33e8ca993fc1" providerId="ADAL" clId="{A0419C13-872F-4A90-BE84-F976C2D8A278}" dt="2023-04-23T12:23:55.219" v="39" actId="20577"/>
          <ac:spMkLst>
            <pc:docMk/>
            <pc:sldMk cId="0" sldId="321"/>
            <ac:spMk id="5" creationId="{00000000-0000-0000-0000-000000000000}"/>
          </ac:spMkLst>
        </pc:spChg>
        <pc:spChg chg="del">
          <ac:chgData name="Priya Roy" userId="1bdec0f2-4fa1-4a37-8e18-33e8ca993fc1" providerId="ADAL" clId="{A0419C13-872F-4A90-BE84-F976C2D8A278}" dt="2023-04-23T12:21:56.192" v="9" actId="478"/>
          <ac:spMkLst>
            <pc:docMk/>
            <pc:sldMk cId="0" sldId="321"/>
            <ac:spMk id="6" creationId="{00000000-0000-0000-0000-000000000000}"/>
          </ac:spMkLst>
        </pc:spChg>
        <pc:spChg chg="del">
          <ac:chgData name="Priya Roy" userId="1bdec0f2-4fa1-4a37-8e18-33e8ca993fc1" providerId="ADAL" clId="{A0419C13-872F-4A90-BE84-F976C2D8A278}" dt="2023-04-23T12:22:26.757" v="10" actId="478"/>
          <ac:spMkLst>
            <pc:docMk/>
            <pc:sldMk cId="0" sldId="321"/>
            <ac:spMk id="7" creationId="{00000000-0000-0000-0000-000000000000}"/>
          </ac:spMkLst>
        </pc:spChg>
        <pc:spChg chg="add del">
          <ac:chgData name="Priya Roy" userId="1bdec0f2-4fa1-4a37-8e18-33e8ca993fc1" providerId="ADAL" clId="{A0419C13-872F-4A90-BE84-F976C2D8A278}" dt="2023-04-23T12:23:02.268" v="24" actId="478"/>
          <ac:spMkLst>
            <pc:docMk/>
            <pc:sldMk cId="0" sldId="321"/>
            <ac:spMk id="9" creationId="{0B51C05B-18EB-424A-A691-6A2D0A442D25}"/>
          </ac:spMkLst>
        </pc:spChg>
        <pc:spChg chg="add mod">
          <ac:chgData name="Priya Roy" userId="1bdec0f2-4fa1-4a37-8e18-33e8ca993fc1" providerId="ADAL" clId="{A0419C13-872F-4A90-BE84-F976C2D8A278}" dt="2023-04-23T12:28:01.369" v="117" actId="14100"/>
          <ac:spMkLst>
            <pc:docMk/>
            <pc:sldMk cId="0" sldId="321"/>
            <ac:spMk id="10" creationId="{3BA76CC8-701B-4BC9-9888-A4A6D0C83618}"/>
          </ac:spMkLst>
        </pc:spChg>
        <pc:spChg chg="add mod">
          <ac:chgData name="Priya Roy" userId="1bdec0f2-4fa1-4a37-8e18-33e8ca993fc1" providerId="ADAL" clId="{A0419C13-872F-4A90-BE84-F976C2D8A278}" dt="2023-04-23T12:28:59.944" v="125" actId="207"/>
          <ac:spMkLst>
            <pc:docMk/>
            <pc:sldMk cId="0" sldId="321"/>
            <ac:spMk id="11" creationId="{7700EA0B-FEC8-4F07-B0B1-4B9EA44A8562}"/>
          </ac:spMkLst>
        </pc:spChg>
        <pc:picChg chg="del">
          <ac:chgData name="Priya Roy" userId="1bdec0f2-4fa1-4a37-8e18-33e8ca993fc1" providerId="ADAL" clId="{A0419C13-872F-4A90-BE84-F976C2D8A278}" dt="2023-04-23T12:22:28.297" v="11" actId="478"/>
          <ac:picMkLst>
            <pc:docMk/>
            <pc:sldMk cId="0" sldId="321"/>
            <ac:picMk id="8" creationId="{00000000-0000-0000-0000-000000000000}"/>
          </ac:picMkLst>
        </pc:picChg>
        <pc:picChg chg="add mod">
          <ac:chgData name="Priya Roy" userId="1bdec0f2-4fa1-4a37-8e18-33e8ca993fc1" providerId="ADAL" clId="{A0419C13-872F-4A90-BE84-F976C2D8A278}" dt="2023-04-23T12:22:53.790" v="22" actId="1076"/>
          <ac:picMkLst>
            <pc:docMk/>
            <pc:sldMk cId="0" sldId="321"/>
            <ac:picMk id="10242" creationId="{3D17AB67-5745-4512-9C1D-A584597EAA81}"/>
          </ac:picMkLst>
        </pc:picChg>
      </pc:sldChg>
      <pc:sldChg chg="del">
        <pc:chgData name="Priya Roy" userId="1bdec0f2-4fa1-4a37-8e18-33e8ca993fc1" providerId="ADAL" clId="{A0419C13-872F-4A90-BE84-F976C2D8A278}" dt="2023-04-23T12:30:06.583" v="131" actId="47"/>
        <pc:sldMkLst>
          <pc:docMk/>
          <pc:sldMk cId="0" sldId="329"/>
        </pc:sldMkLst>
      </pc:sldChg>
      <pc:sldChg chg="del">
        <pc:chgData name="Priya Roy" userId="1bdec0f2-4fa1-4a37-8e18-33e8ca993fc1" providerId="ADAL" clId="{A0419C13-872F-4A90-BE84-F976C2D8A278}" dt="2023-04-23T12:30:06.583" v="131" actId="47"/>
        <pc:sldMkLst>
          <pc:docMk/>
          <pc:sldMk cId="0" sldId="330"/>
        </pc:sldMkLst>
      </pc:sldChg>
      <pc:sldChg chg="del">
        <pc:chgData name="Priya Roy" userId="1bdec0f2-4fa1-4a37-8e18-33e8ca993fc1" providerId="ADAL" clId="{A0419C13-872F-4A90-BE84-F976C2D8A278}" dt="2023-04-23T12:30:06.583" v="131" actId="47"/>
        <pc:sldMkLst>
          <pc:docMk/>
          <pc:sldMk cId="0" sldId="331"/>
        </pc:sldMkLst>
      </pc:sldChg>
      <pc:sldChg chg="del setBg">
        <pc:chgData name="Priya Roy" userId="1bdec0f2-4fa1-4a37-8e18-33e8ca993fc1" providerId="ADAL" clId="{A0419C13-872F-4A90-BE84-F976C2D8A278}" dt="2023-04-23T12:33:08.788" v="225" actId="47"/>
        <pc:sldMkLst>
          <pc:docMk/>
          <pc:sldMk cId="0" sldId="334"/>
        </pc:sldMkLst>
      </pc:sldChg>
      <pc:sldChg chg="del">
        <pc:chgData name="Priya Roy" userId="1bdec0f2-4fa1-4a37-8e18-33e8ca993fc1" providerId="ADAL" clId="{A0419C13-872F-4A90-BE84-F976C2D8A278}" dt="2023-04-23T12:30:06.583" v="131" actId="47"/>
        <pc:sldMkLst>
          <pc:docMk/>
          <pc:sldMk cId="0" sldId="335"/>
        </pc:sldMkLst>
      </pc:sldChg>
      <pc:sldChg chg="del">
        <pc:chgData name="Priya Roy" userId="1bdec0f2-4fa1-4a37-8e18-33e8ca993fc1" providerId="ADAL" clId="{A0419C13-872F-4A90-BE84-F976C2D8A278}" dt="2023-04-23T12:30:06.583" v="131" actId="47"/>
        <pc:sldMkLst>
          <pc:docMk/>
          <pc:sldMk cId="0" sldId="336"/>
        </pc:sldMkLst>
      </pc:sldChg>
      <pc:sldChg chg="del">
        <pc:chgData name="Priya Roy" userId="1bdec0f2-4fa1-4a37-8e18-33e8ca993fc1" providerId="ADAL" clId="{A0419C13-872F-4A90-BE84-F976C2D8A278}" dt="2023-04-23T12:30:06.583" v="131" actId="47"/>
        <pc:sldMkLst>
          <pc:docMk/>
          <pc:sldMk cId="0" sldId="338"/>
        </pc:sldMkLst>
      </pc:sldChg>
      <pc:sldChg chg="del">
        <pc:chgData name="Priya Roy" userId="1bdec0f2-4fa1-4a37-8e18-33e8ca993fc1" providerId="ADAL" clId="{A0419C13-872F-4A90-BE84-F976C2D8A278}" dt="2023-04-23T12:30:06.583" v="131" actId="47"/>
        <pc:sldMkLst>
          <pc:docMk/>
          <pc:sldMk cId="0" sldId="339"/>
        </pc:sldMkLst>
      </pc:sldChg>
      <pc:sldChg chg="del">
        <pc:chgData name="Priya Roy" userId="1bdec0f2-4fa1-4a37-8e18-33e8ca993fc1" providerId="ADAL" clId="{A0419C13-872F-4A90-BE84-F976C2D8A278}" dt="2023-04-23T12:30:06.583" v="131" actId="47"/>
        <pc:sldMkLst>
          <pc:docMk/>
          <pc:sldMk cId="0" sldId="340"/>
        </pc:sldMkLst>
      </pc:sldChg>
      <pc:sldChg chg="del">
        <pc:chgData name="Priya Roy" userId="1bdec0f2-4fa1-4a37-8e18-33e8ca993fc1" providerId="ADAL" clId="{A0419C13-872F-4A90-BE84-F976C2D8A278}" dt="2023-04-23T12:21:04.151" v="5" actId="47"/>
        <pc:sldMkLst>
          <pc:docMk/>
          <pc:sldMk cId="0" sldId="348"/>
        </pc:sldMkLst>
      </pc:sldChg>
      <pc:sldChg chg="add del">
        <pc:chgData name="Priya Roy" userId="1bdec0f2-4fa1-4a37-8e18-33e8ca993fc1" providerId="ADAL" clId="{A0419C13-872F-4A90-BE84-F976C2D8A278}" dt="2023-04-23T16:58:28.780" v="1225"/>
        <pc:sldMkLst>
          <pc:docMk/>
          <pc:sldMk cId="0" sldId="16764451"/>
        </pc:sldMkLst>
      </pc:sldChg>
      <pc:sldChg chg="add del">
        <pc:chgData name="Priya Roy" userId="1bdec0f2-4fa1-4a37-8e18-33e8ca993fc1" providerId="ADAL" clId="{A0419C13-872F-4A90-BE84-F976C2D8A278}" dt="2023-04-23T14:31:36.976" v="640" actId="47"/>
        <pc:sldMkLst>
          <pc:docMk/>
          <pc:sldMk cId="1329391179" sldId="16764452"/>
        </pc:sldMkLst>
      </pc:sldChg>
      <pc:sldChg chg="modSp mod">
        <pc:chgData name="Priya Roy" userId="1bdec0f2-4fa1-4a37-8e18-33e8ca993fc1" providerId="ADAL" clId="{A0419C13-872F-4A90-BE84-F976C2D8A278}" dt="2023-04-23T15:10:59.629" v="1096" actId="1076"/>
        <pc:sldMkLst>
          <pc:docMk/>
          <pc:sldMk cId="96808736" sldId="2147470855"/>
        </pc:sldMkLst>
        <pc:spChg chg="mod">
          <ac:chgData name="Priya Roy" userId="1bdec0f2-4fa1-4a37-8e18-33e8ca993fc1" providerId="ADAL" clId="{A0419C13-872F-4A90-BE84-F976C2D8A278}" dt="2023-04-23T12:24:34.836" v="47" actId="404"/>
          <ac:spMkLst>
            <pc:docMk/>
            <pc:sldMk cId="96808736" sldId="2147470855"/>
            <ac:spMk id="14" creationId="{66122E33-DFEB-43FE-B1AC-1E9BCFF28CCF}"/>
          </ac:spMkLst>
        </pc:spChg>
        <pc:spChg chg="mod">
          <ac:chgData name="Priya Roy" userId="1bdec0f2-4fa1-4a37-8e18-33e8ca993fc1" providerId="ADAL" clId="{A0419C13-872F-4A90-BE84-F976C2D8A278}" dt="2023-04-23T13:51:25.517" v="307" actId="20577"/>
          <ac:spMkLst>
            <pc:docMk/>
            <pc:sldMk cId="96808736" sldId="2147470855"/>
            <ac:spMk id="17" creationId="{C772297C-85B6-4656-A2C0-4CDDC05C6638}"/>
          </ac:spMkLst>
        </pc:spChg>
        <pc:spChg chg="mod">
          <ac:chgData name="Priya Roy" userId="1bdec0f2-4fa1-4a37-8e18-33e8ca993fc1" providerId="ADAL" clId="{A0419C13-872F-4A90-BE84-F976C2D8A278}" dt="2023-04-23T13:47:12.263" v="269" actId="1076"/>
          <ac:spMkLst>
            <pc:docMk/>
            <pc:sldMk cId="96808736" sldId="2147470855"/>
            <ac:spMk id="19" creationId="{1876BBBF-58AC-4C16-B585-0A61062CE442}"/>
          </ac:spMkLst>
        </pc:spChg>
        <pc:spChg chg="mod">
          <ac:chgData name="Priya Roy" userId="1bdec0f2-4fa1-4a37-8e18-33e8ca993fc1" providerId="ADAL" clId="{A0419C13-872F-4A90-BE84-F976C2D8A278}" dt="2023-04-23T13:47:49.035" v="290" actId="14100"/>
          <ac:spMkLst>
            <pc:docMk/>
            <pc:sldMk cId="96808736" sldId="2147470855"/>
            <ac:spMk id="20" creationId="{AE125C88-CF2A-40DE-91FF-58408E8AB3E9}"/>
          </ac:spMkLst>
        </pc:spChg>
        <pc:spChg chg="mod">
          <ac:chgData name="Priya Roy" userId="1bdec0f2-4fa1-4a37-8e18-33e8ca993fc1" providerId="ADAL" clId="{A0419C13-872F-4A90-BE84-F976C2D8A278}" dt="2023-04-23T15:10:59.629" v="1096" actId="1076"/>
          <ac:spMkLst>
            <pc:docMk/>
            <pc:sldMk cId="96808736" sldId="2147470855"/>
            <ac:spMk id="27" creationId="{2659B1BE-2CA4-4E72-9F79-C4CC384AF878}"/>
          </ac:spMkLst>
        </pc:spChg>
        <pc:spChg chg="mod">
          <ac:chgData name="Priya Roy" userId="1bdec0f2-4fa1-4a37-8e18-33e8ca993fc1" providerId="ADAL" clId="{A0419C13-872F-4A90-BE84-F976C2D8A278}" dt="2023-04-23T13:47:42.890" v="281" actId="1037"/>
          <ac:spMkLst>
            <pc:docMk/>
            <pc:sldMk cId="96808736" sldId="2147470855"/>
            <ac:spMk id="37" creationId="{87F316F1-55FB-48BE-9C23-982C8AFDAC6F}"/>
          </ac:spMkLst>
        </pc:spChg>
        <pc:graphicFrameChg chg="mod">
          <ac:chgData name="Priya Roy" userId="1bdec0f2-4fa1-4a37-8e18-33e8ca993fc1" providerId="ADAL" clId="{A0419C13-872F-4A90-BE84-F976C2D8A278}" dt="2023-04-23T13:45:45.912" v="262" actId="2711"/>
          <ac:graphicFrameMkLst>
            <pc:docMk/>
            <pc:sldMk cId="96808736" sldId="2147470855"/>
            <ac:graphicFrameMk id="16" creationId="{827980A1-84B3-48F0-B49F-4047BB43FAEC}"/>
          </ac:graphicFrameMkLst>
        </pc:graphicFrameChg>
        <pc:graphicFrameChg chg="mod">
          <ac:chgData name="Priya Roy" userId="1bdec0f2-4fa1-4a37-8e18-33e8ca993fc1" providerId="ADAL" clId="{A0419C13-872F-4A90-BE84-F976C2D8A278}" dt="2023-04-23T13:45:53.475" v="263" actId="2711"/>
          <ac:graphicFrameMkLst>
            <pc:docMk/>
            <pc:sldMk cId="96808736" sldId="2147470855"/>
            <ac:graphicFrameMk id="22" creationId="{44E642C7-4364-412A-84B1-F1337B0DCB23}"/>
          </ac:graphicFrameMkLst>
        </pc:graphicFrameChg>
        <pc:graphicFrameChg chg="mod">
          <ac:chgData name="Priya Roy" userId="1bdec0f2-4fa1-4a37-8e18-33e8ca993fc1" providerId="ADAL" clId="{A0419C13-872F-4A90-BE84-F976C2D8A278}" dt="2023-04-23T13:46:04.160" v="265" actId="2711"/>
          <ac:graphicFrameMkLst>
            <pc:docMk/>
            <pc:sldMk cId="96808736" sldId="2147470855"/>
            <ac:graphicFrameMk id="29" creationId="{34779C94-AF4D-4613-B38F-10191CD2B78F}"/>
          </ac:graphicFrameMkLst>
        </pc:graphicFrameChg>
      </pc:sldChg>
      <pc:sldChg chg="addSp delSp modSp mod">
        <pc:chgData name="Priya Roy" userId="1bdec0f2-4fa1-4a37-8e18-33e8ca993fc1" providerId="ADAL" clId="{A0419C13-872F-4A90-BE84-F976C2D8A278}" dt="2023-04-23T15:12:25.104" v="1132" actId="478"/>
        <pc:sldMkLst>
          <pc:docMk/>
          <pc:sldMk cId="1187769538" sldId="2147470856"/>
        </pc:sldMkLst>
        <pc:spChg chg="mod">
          <ac:chgData name="Priya Roy" userId="1bdec0f2-4fa1-4a37-8e18-33e8ca993fc1" providerId="ADAL" clId="{A0419C13-872F-4A90-BE84-F976C2D8A278}" dt="2023-04-23T12:24:30.369" v="46" actId="207"/>
          <ac:spMkLst>
            <pc:docMk/>
            <pc:sldMk cId="1187769538" sldId="2147470856"/>
            <ac:spMk id="14" creationId="{66122E33-DFEB-43FE-B1AC-1E9BCFF28CCF}"/>
          </ac:spMkLst>
        </pc:spChg>
        <pc:spChg chg="add del mod">
          <ac:chgData name="Priya Roy" userId="1bdec0f2-4fa1-4a37-8e18-33e8ca993fc1" providerId="ADAL" clId="{A0419C13-872F-4A90-BE84-F976C2D8A278}" dt="2023-04-23T15:12:25.104" v="1132" actId="478"/>
          <ac:spMkLst>
            <pc:docMk/>
            <pc:sldMk cId="1187769538" sldId="2147470856"/>
            <ac:spMk id="20" creationId="{AE125C88-CF2A-40DE-91FF-58408E8AB3E9}"/>
          </ac:spMkLst>
        </pc:spChg>
        <pc:spChg chg="mod">
          <ac:chgData name="Priya Roy" userId="1bdec0f2-4fa1-4a37-8e18-33e8ca993fc1" providerId="ADAL" clId="{A0419C13-872F-4A90-BE84-F976C2D8A278}" dt="2023-04-23T15:12:24.507" v="1131" actId="1076"/>
          <ac:spMkLst>
            <pc:docMk/>
            <pc:sldMk cId="1187769538" sldId="2147470856"/>
            <ac:spMk id="27" creationId="{2659B1BE-2CA4-4E72-9F79-C4CC384AF878}"/>
          </ac:spMkLst>
        </pc:spChg>
        <pc:spChg chg="mod">
          <ac:chgData name="Priya Roy" userId="1bdec0f2-4fa1-4a37-8e18-33e8ca993fc1" providerId="ADAL" clId="{A0419C13-872F-4A90-BE84-F976C2D8A278}" dt="2023-04-23T15:12:23.929" v="1130" actId="1076"/>
          <ac:spMkLst>
            <pc:docMk/>
            <pc:sldMk cId="1187769538" sldId="2147470856"/>
            <ac:spMk id="52" creationId="{B1D36E28-8AF4-4613-8062-AD6FDADA40BE}"/>
          </ac:spMkLst>
        </pc:spChg>
      </pc:sldChg>
      <pc:sldChg chg="modSp mod">
        <pc:chgData name="Priya Roy" userId="1bdec0f2-4fa1-4a37-8e18-33e8ca993fc1" providerId="ADAL" clId="{A0419C13-872F-4A90-BE84-F976C2D8A278}" dt="2023-04-23T15:09:15.728" v="1066" actId="1076"/>
        <pc:sldMkLst>
          <pc:docMk/>
          <pc:sldMk cId="1768737033" sldId="2147470857"/>
        </pc:sldMkLst>
        <pc:spChg chg="mod">
          <ac:chgData name="Priya Roy" userId="1bdec0f2-4fa1-4a37-8e18-33e8ca993fc1" providerId="ADAL" clId="{A0419C13-872F-4A90-BE84-F976C2D8A278}" dt="2023-04-23T12:24:26.720" v="45" actId="207"/>
          <ac:spMkLst>
            <pc:docMk/>
            <pc:sldMk cId="1768737033" sldId="2147470857"/>
            <ac:spMk id="14" creationId="{66122E33-DFEB-43FE-B1AC-1E9BCFF28CCF}"/>
          </ac:spMkLst>
        </pc:spChg>
        <pc:spChg chg="mod">
          <ac:chgData name="Priya Roy" userId="1bdec0f2-4fa1-4a37-8e18-33e8ca993fc1" providerId="ADAL" clId="{A0419C13-872F-4A90-BE84-F976C2D8A278}" dt="2023-04-23T15:06:24.007" v="861" actId="313"/>
          <ac:spMkLst>
            <pc:docMk/>
            <pc:sldMk cId="1768737033" sldId="2147470857"/>
            <ac:spMk id="85" creationId="{A963052B-8A62-42AB-8970-610C8018C2B7}"/>
          </ac:spMkLst>
        </pc:spChg>
        <pc:spChg chg="mod">
          <ac:chgData name="Priya Roy" userId="1bdec0f2-4fa1-4a37-8e18-33e8ca993fc1" providerId="ADAL" clId="{A0419C13-872F-4A90-BE84-F976C2D8A278}" dt="2023-04-23T15:09:15.728" v="1066" actId="1076"/>
          <ac:spMkLst>
            <pc:docMk/>
            <pc:sldMk cId="1768737033" sldId="2147470857"/>
            <ac:spMk id="98" creationId="{2F97C6BD-F50C-4A95-8707-C76A923A3C9F}"/>
          </ac:spMkLst>
        </pc:spChg>
        <pc:spChg chg="mod">
          <ac:chgData name="Priya Roy" userId="1bdec0f2-4fa1-4a37-8e18-33e8ca993fc1" providerId="ADAL" clId="{A0419C13-872F-4A90-BE84-F976C2D8A278}" dt="2023-04-23T12:29:11.392" v="129" actId="207"/>
          <ac:spMkLst>
            <pc:docMk/>
            <pc:sldMk cId="1768737033" sldId="2147470857"/>
            <ac:spMk id="144" creationId="{0E8D8514-895E-4983-A533-4BF6D4DB53BC}"/>
          </ac:spMkLst>
        </pc:spChg>
      </pc:sldChg>
      <pc:sldChg chg="del">
        <pc:chgData name="Priya Roy" userId="1bdec0f2-4fa1-4a37-8e18-33e8ca993fc1" providerId="ADAL" clId="{A0419C13-872F-4A90-BE84-F976C2D8A278}" dt="2023-04-23T12:21:02.079" v="3" actId="47"/>
        <pc:sldMkLst>
          <pc:docMk/>
          <pc:sldMk cId="3094883553" sldId="2147470859"/>
        </pc:sldMkLst>
      </pc:sldChg>
      <pc:sldChg chg="addSp modSp mod">
        <pc:chgData name="Priya Roy" userId="1bdec0f2-4fa1-4a37-8e18-33e8ca993fc1" providerId="ADAL" clId="{A0419C13-872F-4A90-BE84-F976C2D8A278}" dt="2023-04-23T13:59:56.165" v="482"/>
        <pc:sldMkLst>
          <pc:docMk/>
          <pc:sldMk cId="799871675" sldId="2147470860"/>
        </pc:sldMkLst>
        <pc:spChg chg="mod">
          <ac:chgData name="Priya Roy" userId="1bdec0f2-4fa1-4a37-8e18-33e8ca993fc1" providerId="ADAL" clId="{A0419C13-872F-4A90-BE84-F976C2D8A278}" dt="2023-04-23T12:24:21.712" v="43" actId="207"/>
          <ac:spMkLst>
            <pc:docMk/>
            <pc:sldMk cId="799871675" sldId="2147470860"/>
            <ac:spMk id="26" creationId="{00000000-0000-0000-0000-000000000000}"/>
          </ac:spMkLst>
        </pc:spChg>
        <pc:spChg chg="mod">
          <ac:chgData name="Priya Roy" userId="1bdec0f2-4fa1-4a37-8e18-33e8ca993fc1" providerId="ADAL" clId="{A0419C13-872F-4A90-BE84-F976C2D8A278}" dt="2023-04-23T13:59:56.165" v="482"/>
          <ac:spMkLst>
            <pc:docMk/>
            <pc:sldMk cId="799871675" sldId="2147470860"/>
            <ac:spMk id="40" creationId="{211D0FF9-A0DA-47ED-8105-ABF766F29C5D}"/>
          </ac:spMkLst>
        </pc:spChg>
        <pc:spChg chg="add mod">
          <ac:chgData name="Priya Roy" userId="1bdec0f2-4fa1-4a37-8e18-33e8ca993fc1" providerId="ADAL" clId="{A0419C13-872F-4A90-BE84-F976C2D8A278}" dt="2023-04-23T12:29:04.477" v="127" actId="207"/>
          <ac:spMkLst>
            <pc:docMk/>
            <pc:sldMk cId="799871675" sldId="2147470860"/>
            <ac:spMk id="51" creationId="{82B0451C-4C65-437D-A533-A21F807B6265}"/>
          </ac:spMkLst>
        </pc:spChg>
      </pc:sldChg>
      <pc:sldChg chg="modSp mod">
        <pc:chgData name="Priya Roy" userId="1bdec0f2-4fa1-4a37-8e18-33e8ca993fc1" providerId="ADAL" clId="{A0419C13-872F-4A90-BE84-F976C2D8A278}" dt="2023-04-23T15:13:54.215" v="1181"/>
        <pc:sldMkLst>
          <pc:docMk/>
          <pc:sldMk cId="0" sldId="2147470861"/>
        </pc:sldMkLst>
        <pc:spChg chg="mod">
          <ac:chgData name="Priya Roy" userId="1bdec0f2-4fa1-4a37-8e18-33e8ca993fc1" providerId="ADAL" clId="{A0419C13-872F-4A90-BE84-F976C2D8A278}" dt="2023-04-23T15:13:54.215" v="1181"/>
          <ac:spMkLst>
            <pc:docMk/>
            <pc:sldMk cId="0" sldId="2147470861"/>
            <ac:spMk id="6" creationId="{00000000-0000-0000-0000-000000000000}"/>
          </ac:spMkLst>
        </pc:spChg>
      </pc:sldChg>
      <pc:sldChg chg="add del setBg">
        <pc:chgData name="Priya Roy" userId="1bdec0f2-4fa1-4a37-8e18-33e8ca993fc1" providerId="ADAL" clId="{A0419C13-872F-4A90-BE84-F976C2D8A278}" dt="2023-04-23T14:41:45.291" v="737" actId="47"/>
        <pc:sldMkLst>
          <pc:docMk/>
          <pc:sldMk cId="2761724064" sldId="2147470862"/>
        </pc:sldMkLst>
      </pc:sldChg>
      <pc:sldChg chg="addSp delSp modSp new mod">
        <pc:chgData name="Priya Roy" userId="1bdec0f2-4fa1-4a37-8e18-33e8ca993fc1" providerId="ADAL" clId="{A0419C13-872F-4A90-BE84-F976C2D8A278}" dt="2023-04-23T12:34:10.422" v="247" actId="167"/>
        <pc:sldMkLst>
          <pc:docMk/>
          <pc:sldMk cId="2945699146" sldId="2147470863"/>
        </pc:sldMkLst>
        <pc:spChg chg="del">
          <ac:chgData name="Priya Roy" userId="1bdec0f2-4fa1-4a37-8e18-33e8ca993fc1" providerId="ADAL" clId="{A0419C13-872F-4A90-BE84-F976C2D8A278}" dt="2023-04-23T12:31:07.471" v="133" actId="478"/>
          <ac:spMkLst>
            <pc:docMk/>
            <pc:sldMk cId="2945699146" sldId="2147470863"/>
            <ac:spMk id="2" creationId="{ECB79CDE-31BC-4147-AD25-4CF90C74605C}"/>
          </ac:spMkLst>
        </pc:spChg>
        <pc:spChg chg="del">
          <ac:chgData name="Priya Roy" userId="1bdec0f2-4fa1-4a37-8e18-33e8ca993fc1" providerId="ADAL" clId="{A0419C13-872F-4A90-BE84-F976C2D8A278}" dt="2023-04-23T12:31:07.471" v="133" actId="478"/>
          <ac:spMkLst>
            <pc:docMk/>
            <pc:sldMk cId="2945699146" sldId="2147470863"/>
            <ac:spMk id="3" creationId="{324C01F0-E647-4A56-9450-19E7BCA66CA4}"/>
          </ac:spMkLst>
        </pc:spChg>
        <pc:spChg chg="add del mod">
          <ac:chgData name="Priya Roy" userId="1bdec0f2-4fa1-4a37-8e18-33e8ca993fc1" providerId="ADAL" clId="{A0419C13-872F-4A90-BE84-F976C2D8A278}" dt="2023-04-23T12:31:17.869" v="135"/>
          <ac:spMkLst>
            <pc:docMk/>
            <pc:sldMk cId="2945699146" sldId="2147470863"/>
            <ac:spMk id="4" creationId="{7226802F-32C8-4091-927E-3E53FA5AAA4E}"/>
          </ac:spMkLst>
        </pc:spChg>
        <pc:spChg chg="add mod">
          <ac:chgData name="Priya Roy" userId="1bdec0f2-4fa1-4a37-8e18-33e8ca993fc1" providerId="ADAL" clId="{A0419C13-872F-4A90-BE84-F976C2D8A278}" dt="2023-04-23T12:32:31.959" v="195" actId="255"/>
          <ac:spMkLst>
            <pc:docMk/>
            <pc:sldMk cId="2945699146" sldId="2147470863"/>
            <ac:spMk id="6" creationId="{DE09016C-ACD1-4DC4-B76C-75002A6935EA}"/>
          </ac:spMkLst>
        </pc:spChg>
        <pc:spChg chg="add mod">
          <ac:chgData name="Priya Roy" userId="1bdec0f2-4fa1-4a37-8e18-33e8ca993fc1" providerId="ADAL" clId="{A0419C13-872F-4A90-BE84-F976C2D8A278}" dt="2023-04-23T12:32:21.738" v="187" actId="1076"/>
          <ac:spMkLst>
            <pc:docMk/>
            <pc:sldMk cId="2945699146" sldId="2147470863"/>
            <ac:spMk id="7" creationId="{EB10C61B-8E44-43F5-B86E-8E332EE8FB2C}"/>
          </ac:spMkLst>
        </pc:spChg>
        <pc:spChg chg="add mod">
          <ac:chgData name="Priya Roy" userId="1bdec0f2-4fa1-4a37-8e18-33e8ca993fc1" providerId="ADAL" clId="{A0419C13-872F-4A90-BE84-F976C2D8A278}" dt="2023-04-23T12:32:02.816" v="147" actId="1076"/>
          <ac:spMkLst>
            <pc:docMk/>
            <pc:sldMk cId="2945699146" sldId="2147470863"/>
            <ac:spMk id="8" creationId="{D77BCBAB-234E-4568-B9DD-709F6DD364B5}"/>
          </ac:spMkLst>
        </pc:spChg>
        <pc:picChg chg="add del mod">
          <ac:chgData name="Priya Roy" userId="1bdec0f2-4fa1-4a37-8e18-33e8ca993fc1" providerId="ADAL" clId="{A0419C13-872F-4A90-BE84-F976C2D8A278}" dt="2023-04-23T12:34:06.472" v="245" actId="478"/>
          <ac:picMkLst>
            <pc:docMk/>
            <pc:sldMk cId="2945699146" sldId="2147470863"/>
            <ac:picMk id="5" creationId="{B6361498-68C3-4F20-A6D9-C846A70B6D29}"/>
          </ac:picMkLst>
        </pc:picChg>
        <pc:picChg chg="add mod ord">
          <ac:chgData name="Priya Roy" userId="1bdec0f2-4fa1-4a37-8e18-33e8ca993fc1" providerId="ADAL" clId="{A0419C13-872F-4A90-BE84-F976C2D8A278}" dt="2023-04-23T12:34:10.422" v="247" actId="167"/>
          <ac:picMkLst>
            <pc:docMk/>
            <pc:sldMk cId="2945699146" sldId="2147470863"/>
            <ac:picMk id="9" creationId="{A72C4C0F-BD63-4B9D-8BCE-DE31E9AD9A9F}"/>
          </ac:picMkLst>
        </pc:picChg>
      </pc:sldChg>
      <pc:sldChg chg="modSp add mod ord">
        <pc:chgData name="Priya Roy" userId="1bdec0f2-4fa1-4a37-8e18-33e8ca993fc1" providerId="ADAL" clId="{A0419C13-872F-4A90-BE84-F976C2D8A278}" dt="2023-04-23T15:14:36.813" v="1208" actId="20577"/>
        <pc:sldMkLst>
          <pc:docMk/>
          <pc:sldMk cId="524104680" sldId="2147470864"/>
        </pc:sldMkLst>
        <pc:spChg chg="mod">
          <ac:chgData name="Priya Roy" userId="1bdec0f2-4fa1-4a37-8e18-33e8ca993fc1" providerId="ADAL" clId="{A0419C13-872F-4A90-BE84-F976C2D8A278}" dt="2023-04-23T15:14:36.813" v="1208" actId="20577"/>
          <ac:spMkLst>
            <pc:docMk/>
            <pc:sldMk cId="524104680" sldId="2147470864"/>
            <ac:spMk id="6" creationId="{DE09016C-ACD1-4DC4-B76C-75002A6935EA}"/>
          </ac:spMkLst>
        </pc:spChg>
        <pc:spChg chg="mod">
          <ac:chgData name="Priya Roy" userId="1bdec0f2-4fa1-4a37-8e18-33e8ca993fc1" providerId="ADAL" clId="{A0419C13-872F-4A90-BE84-F976C2D8A278}" dt="2023-04-23T15:14:26.390" v="1201" actId="1038"/>
          <ac:spMkLst>
            <pc:docMk/>
            <pc:sldMk cId="524104680" sldId="2147470864"/>
            <ac:spMk id="7" creationId="{EB10C61B-8E44-43F5-B86E-8E332EE8FB2C}"/>
          </ac:spMkLst>
        </pc:spChg>
      </pc:sldChg>
      <pc:sldChg chg="addSp delSp modSp add del mod">
        <pc:chgData name="Priya Roy" userId="1bdec0f2-4fa1-4a37-8e18-33e8ca993fc1" providerId="ADAL" clId="{A0419C13-872F-4A90-BE84-F976C2D8A278}" dt="2023-04-23T14:41:19.008" v="723" actId="47"/>
        <pc:sldMkLst>
          <pc:docMk/>
          <pc:sldMk cId="414792394" sldId="2147470865"/>
        </pc:sldMkLst>
        <pc:spChg chg="mod">
          <ac:chgData name="Priya Roy" userId="1bdec0f2-4fa1-4a37-8e18-33e8ca993fc1" providerId="ADAL" clId="{A0419C13-872F-4A90-BE84-F976C2D8A278}" dt="2023-04-23T12:33:35.140" v="244" actId="20577"/>
          <ac:spMkLst>
            <pc:docMk/>
            <pc:sldMk cId="414792394" sldId="2147470865"/>
            <ac:spMk id="6" creationId="{DE09016C-ACD1-4DC4-B76C-75002A6935EA}"/>
          </ac:spMkLst>
        </pc:spChg>
        <pc:picChg chg="del">
          <ac:chgData name="Priya Roy" userId="1bdec0f2-4fa1-4a37-8e18-33e8ca993fc1" providerId="ADAL" clId="{A0419C13-872F-4A90-BE84-F976C2D8A278}" dt="2023-04-23T12:33:25.950" v="227" actId="478"/>
          <ac:picMkLst>
            <pc:docMk/>
            <pc:sldMk cId="414792394" sldId="2147470865"/>
            <ac:picMk id="5" creationId="{B6361498-68C3-4F20-A6D9-C846A70B6D29}"/>
          </ac:picMkLst>
        </pc:picChg>
        <pc:picChg chg="add mod ord">
          <ac:chgData name="Priya Roy" userId="1bdec0f2-4fa1-4a37-8e18-33e8ca993fc1" providerId="ADAL" clId="{A0419C13-872F-4A90-BE84-F976C2D8A278}" dt="2023-04-23T12:33:28.956" v="229" actId="167"/>
          <ac:picMkLst>
            <pc:docMk/>
            <pc:sldMk cId="414792394" sldId="2147470865"/>
            <ac:picMk id="9" creationId="{098F8585-3CED-43F6-B279-BD2219876E86}"/>
          </ac:picMkLst>
        </pc:picChg>
      </pc:sldChg>
      <pc:sldChg chg="add del">
        <pc:chgData name="Priya Roy" userId="1bdec0f2-4fa1-4a37-8e18-33e8ca993fc1" providerId="ADAL" clId="{A0419C13-872F-4A90-BE84-F976C2D8A278}" dt="2023-04-23T16:58:28.780" v="1225"/>
        <pc:sldMkLst>
          <pc:docMk/>
          <pc:sldMk cId="0" sldId="2147470866"/>
        </pc:sldMkLst>
      </pc:sldChg>
      <pc:sldChg chg="modSp add mod">
        <pc:chgData name="Priya Roy" userId="1bdec0f2-4fa1-4a37-8e18-33e8ca993fc1" providerId="ADAL" clId="{A0419C13-872F-4A90-BE84-F976C2D8A278}" dt="2023-04-23T14:41:16.822" v="722" actId="20577"/>
        <pc:sldMkLst>
          <pc:docMk/>
          <pc:sldMk cId="514536181" sldId="2147470867"/>
        </pc:sldMkLst>
        <pc:spChg chg="mod">
          <ac:chgData name="Priya Roy" userId="1bdec0f2-4fa1-4a37-8e18-33e8ca993fc1" providerId="ADAL" clId="{A0419C13-872F-4A90-BE84-F976C2D8A278}" dt="2023-04-23T14:41:16.822" v="722" actId="20577"/>
          <ac:spMkLst>
            <pc:docMk/>
            <pc:sldMk cId="514536181" sldId="2147470867"/>
            <ac:spMk id="6" creationId="{DE09016C-ACD1-4DC4-B76C-75002A6935EA}"/>
          </ac:spMkLst>
        </pc:spChg>
      </pc:sldChg>
      <pc:sldChg chg="modSp new mod">
        <pc:chgData name="Priya Roy" userId="1bdec0f2-4fa1-4a37-8e18-33e8ca993fc1" providerId="ADAL" clId="{A0419C13-872F-4A90-BE84-F976C2D8A278}" dt="2023-04-23T15:15:11.270" v="1219" actId="20577"/>
        <pc:sldMkLst>
          <pc:docMk/>
          <pc:sldMk cId="4211775144" sldId="2147470868"/>
        </pc:sldMkLst>
        <pc:spChg chg="mod">
          <ac:chgData name="Priya Roy" userId="1bdec0f2-4fa1-4a37-8e18-33e8ca993fc1" providerId="ADAL" clId="{A0419C13-872F-4A90-BE84-F976C2D8A278}" dt="2023-04-23T15:15:11.270" v="1219" actId="20577"/>
          <ac:spMkLst>
            <pc:docMk/>
            <pc:sldMk cId="4211775144" sldId="2147470868"/>
            <ac:spMk id="2" creationId="{A3ABF42B-1B53-4B19-888D-9A6AD2C5A97B}"/>
          </ac:spMkLst>
        </pc:spChg>
      </pc:sldChg>
      <pc:sldChg chg="add">
        <pc:chgData name="Priya Roy" userId="1bdec0f2-4fa1-4a37-8e18-33e8ca993fc1" providerId="ADAL" clId="{A0419C13-872F-4A90-BE84-F976C2D8A278}" dt="2023-04-23T16:58:11.833" v="1220"/>
        <pc:sldMkLst>
          <pc:docMk/>
          <pc:sldMk cId="0" sldId="2147470869"/>
        </pc:sldMkLst>
      </pc:sldChg>
      <pc:sldMasterChg chg="delSldLayout">
        <pc:chgData name="Priya Roy" userId="1bdec0f2-4fa1-4a37-8e18-33e8ca993fc1" providerId="ADAL" clId="{A0419C13-872F-4A90-BE84-F976C2D8A278}" dt="2023-04-23T12:30:06.583" v="131" actId="47"/>
        <pc:sldMasterMkLst>
          <pc:docMk/>
          <pc:sldMasterMk cId="0" sldId="2147483648"/>
        </pc:sldMasterMkLst>
        <pc:sldLayoutChg chg="del">
          <pc:chgData name="Priya Roy" userId="1bdec0f2-4fa1-4a37-8e18-33e8ca993fc1" providerId="ADAL" clId="{A0419C13-872F-4A90-BE84-F976C2D8A278}" dt="2023-04-23T12:30:06.583" v="131" actId="47"/>
          <pc:sldLayoutMkLst>
            <pc:docMk/>
            <pc:sldMasterMk cId="0" sldId="2147483648"/>
            <pc:sldLayoutMk cId="0" sldId="2147483661"/>
          </pc:sldLayoutMkLst>
        </pc:sldLayoutChg>
      </pc:sldMasterChg>
      <pc:sldMasterChg chg="delSldLayout modSldLayout">
        <pc:chgData name="Priya Roy" userId="1bdec0f2-4fa1-4a37-8e18-33e8ca993fc1" providerId="ADAL" clId="{A0419C13-872F-4A90-BE84-F976C2D8A278}" dt="2023-04-23T12:21:04.151" v="5" actId="47"/>
        <pc:sldMasterMkLst>
          <pc:docMk/>
          <pc:sldMasterMk cId="0" sldId="2147483690"/>
        </pc:sldMasterMkLst>
        <pc:sldLayoutChg chg="del">
          <pc:chgData name="Priya Roy" userId="1bdec0f2-4fa1-4a37-8e18-33e8ca993fc1" providerId="ADAL" clId="{A0419C13-872F-4A90-BE84-F976C2D8A278}" dt="2023-04-23T12:21:04.151" v="5" actId="47"/>
          <pc:sldLayoutMkLst>
            <pc:docMk/>
            <pc:sldMasterMk cId="0" sldId="2147483690"/>
            <pc:sldLayoutMk cId="0" sldId="2147483703"/>
          </pc:sldLayoutMkLst>
        </pc:sldLayoutChg>
        <pc:sldLayoutChg chg="delSp mod">
          <pc:chgData name="Priya Roy" userId="1bdec0f2-4fa1-4a37-8e18-33e8ca993fc1" providerId="ADAL" clId="{A0419C13-872F-4A90-BE84-F976C2D8A278}" dt="2023-04-23T12:20:48.498" v="2" actId="478"/>
          <pc:sldLayoutMkLst>
            <pc:docMk/>
            <pc:sldMasterMk cId="0" sldId="2147483690"/>
            <pc:sldLayoutMk cId="2847927794" sldId="2147483928"/>
          </pc:sldLayoutMkLst>
          <pc:spChg chg="del">
            <ac:chgData name="Priya Roy" userId="1bdec0f2-4fa1-4a37-8e18-33e8ca993fc1" providerId="ADAL" clId="{A0419C13-872F-4A90-BE84-F976C2D8A278}" dt="2023-04-23T12:20:48.498" v="2" actId="478"/>
            <ac:spMkLst>
              <pc:docMk/>
              <pc:sldMasterMk cId="0" sldId="2147483690"/>
              <pc:sldLayoutMk cId="2847927794" sldId="2147483928"/>
              <ac:spMk id="80" creationId="{EF8E9275-C0E0-4ABA-8699-73E5E292EC85}"/>
            </ac:spMkLst>
          </pc:spChg>
        </pc:sldLayoutChg>
      </pc:sldMasterChg>
      <pc:sldMasterChg chg="delSldLayout">
        <pc:chgData name="Priya Roy" userId="1bdec0f2-4fa1-4a37-8e18-33e8ca993fc1" providerId="ADAL" clId="{A0419C13-872F-4A90-BE84-F976C2D8A278}" dt="2023-04-23T14:31:36.976" v="640" actId="47"/>
        <pc:sldMasterMkLst>
          <pc:docMk/>
          <pc:sldMasterMk cId="0" sldId="2147483704"/>
        </pc:sldMasterMkLst>
        <pc:sldLayoutChg chg="del">
          <pc:chgData name="Priya Roy" userId="1bdec0f2-4fa1-4a37-8e18-33e8ca993fc1" providerId="ADAL" clId="{A0419C13-872F-4A90-BE84-F976C2D8A278}" dt="2023-04-23T13:39:45.320" v="248" actId="47"/>
          <pc:sldLayoutMkLst>
            <pc:docMk/>
            <pc:sldMasterMk cId="0" sldId="2147483704"/>
            <pc:sldLayoutMk cId="0" sldId="2147483717"/>
          </pc:sldLayoutMkLst>
        </pc:sldLayoutChg>
        <pc:sldLayoutChg chg="del">
          <pc:chgData name="Priya Roy" userId="1bdec0f2-4fa1-4a37-8e18-33e8ca993fc1" providerId="ADAL" clId="{A0419C13-872F-4A90-BE84-F976C2D8A278}" dt="2023-04-23T14:31:36.976" v="640" actId="47"/>
          <pc:sldLayoutMkLst>
            <pc:docMk/>
            <pc:sldMasterMk cId="0" sldId="2147483704"/>
            <pc:sldLayoutMk cId="3368519452" sldId="2147483934"/>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718"/>
        </pc:sldMasterMkLst>
        <pc:sldLayoutChg chg="del">
          <pc:chgData name="Priya Roy" userId="1bdec0f2-4fa1-4a37-8e18-33e8ca993fc1" providerId="ADAL" clId="{A0419C13-872F-4A90-BE84-F976C2D8A278}" dt="2023-04-23T12:30:06.583" v="131" actId="47"/>
          <pc:sldLayoutMkLst>
            <pc:docMk/>
            <pc:sldMasterMk cId="0" sldId="2147483718"/>
            <pc:sldLayoutMk cId="0" sldId="2147483719"/>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0"/>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1"/>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2"/>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3"/>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4"/>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5"/>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6"/>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7"/>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8"/>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29"/>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30"/>
          </pc:sldLayoutMkLst>
        </pc:sldLayoutChg>
        <pc:sldLayoutChg chg="del">
          <pc:chgData name="Priya Roy" userId="1bdec0f2-4fa1-4a37-8e18-33e8ca993fc1" providerId="ADAL" clId="{A0419C13-872F-4A90-BE84-F976C2D8A278}" dt="2023-04-23T12:30:06.583" v="131" actId="47"/>
          <pc:sldLayoutMkLst>
            <pc:docMk/>
            <pc:sldMasterMk cId="0" sldId="2147483718"/>
            <pc:sldLayoutMk cId="0" sldId="2147483731"/>
          </pc:sldLayoutMkLst>
        </pc:sldLayoutChg>
      </pc:sldMasterChg>
      <pc:sldMasterChg chg="delSldLayout">
        <pc:chgData name="Priya Roy" userId="1bdec0f2-4fa1-4a37-8e18-33e8ca993fc1" providerId="ADAL" clId="{A0419C13-872F-4A90-BE84-F976C2D8A278}" dt="2023-04-23T12:21:02.079" v="3" actId="47"/>
        <pc:sldMasterMkLst>
          <pc:docMk/>
          <pc:sldMasterMk cId="0" sldId="2147483774"/>
        </pc:sldMasterMkLst>
        <pc:sldLayoutChg chg="del">
          <pc:chgData name="Priya Roy" userId="1bdec0f2-4fa1-4a37-8e18-33e8ca993fc1" providerId="ADAL" clId="{A0419C13-872F-4A90-BE84-F976C2D8A278}" dt="2023-04-23T12:21:02.079" v="3" actId="47"/>
          <pc:sldLayoutMkLst>
            <pc:docMk/>
            <pc:sldMasterMk cId="0" sldId="2147483774"/>
            <pc:sldLayoutMk cId="1010498513" sldId="2147483929"/>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02"/>
        </pc:sldMasterMkLst>
        <pc:sldLayoutChg chg="del">
          <pc:chgData name="Priya Roy" userId="1bdec0f2-4fa1-4a37-8e18-33e8ca993fc1" providerId="ADAL" clId="{A0419C13-872F-4A90-BE84-F976C2D8A278}" dt="2023-04-23T12:30:06.583" v="131" actId="47"/>
          <pc:sldLayoutMkLst>
            <pc:docMk/>
            <pc:sldMasterMk cId="0" sldId="2147483802"/>
            <pc:sldLayoutMk cId="0" sldId="2147483803"/>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4"/>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5"/>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6"/>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7"/>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8"/>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09"/>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0"/>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1"/>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2"/>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3"/>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4"/>
          </pc:sldLayoutMkLst>
        </pc:sldLayoutChg>
        <pc:sldLayoutChg chg="del">
          <pc:chgData name="Priya Roy" userId="1bdec0f2-4fa1-4a37-8e18-33e8ca993fc1" providerId="ADAL" clId="{A0419C13-872F-4A90-BE84-F976C2D8A278}" dt="2023-04-23T12:30:06.583" v="131" actId="47"/>
          <pc:sldLayoutMkLst>
            <pc:docMk/>
            <pc:sldMasterMk cId="0" sldId="2147483802"/>
            <pc:sldLayoutMk cId="0" sldId="2147483815"/>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16"/>
        </pc:sldMasterMkLst>
        <pc:sldLayoutChg chg="del">
          <pc:chgData name="Priya Roy" userId="1bdec0f2-4fa1-4a37-8e18-33e8ca993fc1" providerId="ADAL" clId="{A0419C13-872F-4A90-BE84-F976C2D8A278}" dt="2023-04-23T12:30:06.583" v="131" actId="47"/>
          <pc:sldLayoutMkLst>
            <pc:docMk/>
            <pc:sldMasterMk cId="0" sldId="2147483816"/>
            <pc:sldLayoutMk cId="0" sldId="2147483817"/>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18"/>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19"/>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0"/>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1"/>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2"/>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3"/>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4"/>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5"/>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6"/>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7"/>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8"/>
          </pc:sldLayoutMkLst>
        </pc:sldLayoutChg>
        <pc:sldLayoutChg chg="del">
          <pc:chgData name="Priya Roy" userId="1bdec0f2-4fa1-4a37-8e18-33e8ca993fc1" providerId="ADAL" clId="{A0419C13-872F-4A90-BE84-F976C2D8A278}" dt="2023-04-23T12:30:06.583" v="131" actId="47"/>
          <pc:sldLayoutMkLst>
            <pc:docMk/>
            <pc:sldMasterMk cId="0" sldId="2147483816"/>
            <pc:sldLayoutMk cId="0" sldId="2147483829"/>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30"/>
        </pc:sldMasterMkLst>
        <pc:sldLayoutChg chg="del">
          <pc:chgData name="Priya Roy" userId="1bdec0f2-4fa1-4a37-8e18-33e8ca993fc1" providerId="ADAL" clId="{A0419C13-872F-4A90-BE84-F976C2D8A278}" dt="2023-04-23T12:30:06.583" v="131" actId="47"/>
          <pc:sldLayoutMkLst>
            <pc:docMk/>
            <pc:sldMasterMk cId="0" sldId="2147483830"/>
            <pc:sldLayoutMk cId="0" sldId="2147483831"/>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2"/>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3"/>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4"/>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5"/>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6"/>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7"/>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8"/>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39"/>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40"/>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41"/>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42"/>
          </pc:sldLayoutMkLst>
        </pc:sldLayoutChg>
        <pc:sldLayoutChg chg="del">
          <pc:chgData name="Priya Roy" userId="1bdec0f2-4fa1-4a37-8e18-33e8ca993fc1" providerId="ADAL" clId="{A0419C13-872F-4A90-BE84-F976C2D8A278}" dt="2023-04-23T12:30:06.583" v="131" actId="47"/>
          <pc:sldLayoutMkLst>
            <pc:docMk/>
            <pc:sldMasterMk cId="0" sldId="2147483830"/>
            <pc:sldLayoutMk cId="0" sldId="2147483843"/>
          </pc:sldLayoutMkLst>
        </pc:sldLayoutChg>
      </pc:sldMasterChg>
      <pc:sldMasterChg chg="delSldLayout">
        <pc:chgData name="Priya Roy" userId="1bdec0f2-4fa1-4a37-8e18-33e8ca993fc1" providerId="ADAL" clId="{A0419C13-872F-4A90-BE84-F976C2D8A278}" dt="2023-04-23T14:41:19.008" v="723" actId="47"/>
        <pc:sldMasterMkLst>
          <pc:docMk/>
          <pc:sldMasterMk cId="0" sldId="2147483844"/>
        </pc:sldMasterMkLst>
        <pc:sldLayoutChg chg="del">
          <pc:chgData name="Priya Roy" userId="1bdec0f2-4fa1-4a37-8e18-33e8ca993fc1" providerId="ADAL" clId="{A0419C13-872F-4A90-BE84-F976C2D8A278}" dt="2023-04-23T14:41:19.008" v="723" actId="47"/>
          <pc:sldLayoutMkLst>
            <pc:docMk/>
            <pc:sldMasterMk cId="0" sldId="2147483844"/>
            <pc:sldLayoutMk cId="1769810846" sldId="2147483932"/>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58"/>
        </pc:sldMasterMkLst>
        <pc:sldLayoutChg chg="del">
          <pc:chgData name="Priya Roy" userId="1bdec0f2-4fa1-4a37-8e18-33e8ca993fc1" providerId="ADAL" clId="{A0419C13-872F-4A90-BE84-F976C2D8A278}" dt="2023-04-23T12:30:06.583" v="131" actId="47"/>
          <pc:sldLayoutMkLst>
            <pc:docMk/>
            <pc:sldMasterMk cId="0" sldId="2147483858"/>
            <pc:sldLayoutMk cId="0" sldId="2147483859"/>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0"/>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1"/>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2"/>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3"/>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4"/>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5"/>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6"/>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7"/>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8"/>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69"/>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70"/>
          </pc:sldLayoutMkLst>
        </pc:sldLayoutChg>
        <pc:sldLayoutChg chg="del">
          <pc:chgData name="Priya Roy" userId="1bdec0f2-4fa1-4a37-8e18-33e8ca993fc1" providerId="ADAL" clId="{A0419C13-872F-4A90-BE84-F976C2D8A278}" dt="2023-04-23T12:30:06.583" v="131" actId="47"/>
          <pc:sldLayoutMkLst>
            <pc:docMk/>
            <pc:sldMasterMk cId="0" sldId="2147483858"/>
            <pc:sldLayoutMk cId="0" sldId="2147483871"/>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72"/>
        </pc:sldMasterMkLst>
        <pc:sldLayoutChg chg="del">
          <pc:chgData name="Priya Roy" userId="1bdec0f2-4fa1-4a37-8e18-33e8ca993fc1" providerId="ADAL" clId="{A0419C13-872F-4A90-BE84-F976C2D8A278}" dt="2023-04-23T12:30:06.583" v="131" actId="47"/>
          <pc:sldLayoutMkLst>
            <pc:docMk/>
            <pc:sldMasterMk cId="0" sldId="2147483872"/>
            <pc:sldLayoutMk cId="0" sldId="2147483873"/>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4"/>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5"/>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6"/>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7"/>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8"/>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79"/>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0"/>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1"/>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2"/>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3"/>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4"/>
          </pc:sldLayoutMkLst>
        </pc:sldLayoutChg>
        <pc:sldLayoutChg chg="del">
          <pc:chgData name="Priya Roy" userId="1bdec0f2-4fa1-4a37-8e18-33e8ca993fc1" providerId="ADAL" clId="{A0419C13-872F-4A90-BE84-F976C2D8A278}" dt="2023-04-23T12:30:06.583" v="131" actId="47"/>
          <pc:sldLayoutMkLst>
            <pc:docMk/>
            <pc:sldMasterMk cId="0" sldId="2147483872"/>
            <pc:sldLayoutMk cId="0" sldId="2147483885"/>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886"/>
        </pc:sldMasterMkLst>
        <pc:sldLayoutChg chg="del">
          <pc:chgData name="Priya Roy" userId="1bdec0f2-4fa1-4a37-8e18-33e8ca993fc1" providerId="ADAL" clId="{A0419C13-872F-4A90-BE84-F976C2D8A278}" dt="2023-04-23T12:30:06.583" v="131" actId="47"/>
          <pc:sldLayoutMkLst>
            <pc:docMk/>
            <pc:sldMasterMk cId="0" sldId="2147483886"/>
            <pc:sldLayoutMk cId="0" sldId="2147483887"/>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88"/>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89"/>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0"/>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1"/>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2"/>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3"/>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4"/>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5"/>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6"/>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7"/>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8"/>
          </pc:sldLayoutMkLst>
        </pc:sldLayoutChg>
        <pc:sldLayoutChg chg="del">
          <pc:chgData name="Priya Roy" userId="1bdec0f2-4fa1-4a37-8e18-33e8ca993fc1" providerId="ADAL" clId="{A0419C13-872F-4A90-BE84-F976C2D8A278}" dt="2023-04-23T12:30:06.583" v="131" actId="47"/>
          <pc:sldLayoutMkLst>
            <pc:docMk/>
            <pc:sldMasterMk cId="0" sldId="2147483886"/>
            <pc:sldLayoutMk cId="0" sldId="2147483899"/>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900"/>
        </pc:sldMasterMkLst>
        <pc:sldLayoutChg chg="del">
          <pc:chgData name="Priya Roy" userId="1bdec0f2-4fa1-4a37-8e18-33e8ca993fc1" providerId="ADAL" clId="{A0419C13-872F-4A90-BE84-F976C2D8A278}" dt="2023-04-23T12:30:06.583" v="131" actId="47"/>
          <pc:sldLayoutMkLst>
            <pc:docMk/>
            <pc:sldMasterMk cId="0" sldId="2147483900"/>
            <pc:sldLayoutMk cId="0" sldId="2147483901"/>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2"/>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3"/>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4"/>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5"/>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6"/>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7"/>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8"/>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09"/>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10"/>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11"/>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12"/>
          </pc:sldLayoutMkLst>
        </pc:sldLayoutChg>
        <pc:sldLayoutChg chg="del">
          <pc:chgData name="Priya Roy" userId="1bdec0f2-4fa1-4a37-8e18-33e8ca993fc1" providerId="ADAL" clId="{A0419C13-872F-4A90-BE84-F976C2D8A278}" dt="2023-04-23T12:30:06.583" v="131" actId="47"/>
          <pc:sldLayoutMkLst>
            <pc:docMk/>
            <pc:sldMasterMk cId="0" sldId="2147483900"/>
            <pc:sldLayoutMk cId="0" sldId="2147483913"/>
          </pc:sldLayoutMkLst>
        </pc:sldLayoutChg>
      </pc:sldMasterChg>
      <pc:sldMasterChg chg="del delSldLayout">
        <pc:chgData name="Priya Roy" userId="1bdec0f2-4fa1-4a37-8e18-33e8ca993fc1" providerId="ADAL" clId="{A0419C13-872F-4A90-BE84-F976C2D8A278}" dt="2023-04-23T12:30:06.583" v="131" actId="47"/>
        <pc:sldMasterMkLst>
          <pc:docMk/>
          <pc:sldMasterMk cId="0" sldId="2147483914"/>
        </pc:sldMasterMkLst>
        <pc:sldLayoutChg chg="del">
          <pc:chgData name="Priya Roy" userId="1bdec0f2-4fa1-4a37-8e18-33e8ca993fc1" providerId="ADAL" clId="{A0419C13-872F-4A90-BE84-F976C2D8A278}" dt="2023-04-23T12:30:06.583" v="131" actId="47"/>
          <pc:sldLayoutMkLst>
            <pc:docMk/>
            <pc:sldMasterMk cId="0" sldId="2147483914"/>
            <pc:sldLayoutMk cId="0" sldId="2147483915"/>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16"/>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17"/>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18"/>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19"/>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0"/>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1"/>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2"/>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3"/>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4"/>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5"/>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6"/>
          </pc:sldLayoutMkLst>
        </pc:sldLayoutChg>
        <pc:sldLayoutChg chg="del">
          <pc:chgData name="Priya Roy" userId="1bdec0f2-4fa1-4a37-8e18-33e8ca993fc1" providerId="ADAL" clId="{A0419C13-872F-4A90-BE84-F976C2D8A278}" dt="2023-04-23T12:30:06.583" v="131" actId="47"/>
          <pc:sldLayoutMkLst>
            <pc:docMk/>
            <pc:sldMasterMk cId="0" sldId="2147483914"/>
            <pc:sldLayoutMk cId="0" sldId="214748392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eyindia-my.sharepoint.com/personal/priya_roy_in_ey_com/Documents/Desktop/Personal/IPBA_IIMIndore/BYOP_EDA/Adidas%20US%20Sales%20Datasets_Cop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1" i="0" u="none" strike="noStrike" kern="1200" spc="0" baseline="0">
                <a:solidFill>
                  <a:schemeClr val="tx1"/>
                </a:solidFill>
                <a:latin typeface="+mn-lt"/>
                <a:ea typeface="+mn-ea"/>
                <a:cs typeface="+mn-cs"/>
              </a:defRPr>
            </a:pPr>
            <a:r>
              <a:rPr lang="en-US" b="1">
                <a:solidFill>
                  <a:schemeClr val="tx1"/>
                </a:solidFill>
              </a:rPr>
              <a:t>Sales in $ Million</a:t>
            </a:r>
          </a:p>
        </c:rich>
      </c:tx>
      <c:layout>
        <c:manualLayout>
          <c:xMode val="edge"/>
          <c:yMode val="edge"/>
          <c:x val="0.28834022281938271"/>
          <c:y val="9.0920675648006696E-2"/>
        </c:manualLayout>
      </c:layout>
      <c:overlay val="0"/>
      <c:spPr>
        <a:noFill/>
        <a:ln>
          <a:noFill/>
        </a:ln>
        <a:effectLst/>
      </c:spPr>
      <c:txPr>
        <a:bodyPr rot="0" spcFirstLastPara="1" vertOverflow="ellipsis" vert="horz" wrap="square" anchor="ctr" anchorCtr="1"/>
        <a:lstStyle/>
        <a:p>
          <a:pPr>
            <a:defRPr sz="1080" b="1"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Sheet2!$H$33</c:f>
              <c:strCache>
                <c:ptCount val="1"/>
                <c:pt idx="0">
                  <c:v>Sales</c:v>
                </c:pt>
              </c:strCache>
            </c:strRef>
          </c:tx>
          <c:spPr>
            <a:solidFill>
              <a:schemeClr val="accent4"/>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0-29FD-482B-A087-D1875B291906}"/>
              </c:ext>
            </c:extLst>
          </c:dPt>
          <c:dLbls>
            <c:numFmt formatCode="#,##0"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I$32:$J$32</c:f>
              <c:numCache>
                <c:formatCode>General</c:formatCode>
                <c:ptCount val="2"/>
                <c:pt idx="0">
                  <c:v>2020</c:v>
                </c:pt>
                <c:pt idx="1">
                  <c:v>2021</c:v>
                </c:pt>
              </c:numCache>
            </c:numRef>
          </c:cat>
          <c:val>
            <c:numRef>
              <c:f>Sheet2!$I$33:$J$33</c:f>
              <c:numCache>
                <c:formatCode>General</c:formatCode>
                <c:ptCount val="2"/>
                <c:pt idx="0">
                  <c:v>182.08067500000001</c:v>
                </c:pt>
                <c:pt idx="1">
                  <c:v>717.82145000000003</c:v>
                </c:pt>
              </c:numCache>
            </c:numRef>
          </c:val>
          <c:extLst>
            <c:ext xmlns:c16="http://schemas.microsoft.com/office/drawing/2014/chart" uri="{C3380CC4-5D6E-409C-BE32-E72D297353CC}">
              <c16:uniqueId val="{00000000-BF66-4D06-B8E8-C705D9A0EFDD}"/>
            </c:ext>
          </c:extLst>
        </c:ser>
        <c:dLbls>
          <c:showLegendKey val="0"/>
          <c:showVal val="0"/>
          <c:showCatName val="0"/>
          <c:showSerName val="0"/>
          <c:showPercent val="0"/>
          <c:showBubbleSize val="0"/>
        </c:dLbls>
        <c:gapWidth val="85"/>
        <c:axId val="967204024"/>
        <c:axId val="967203368"/>
      </c:barChart>
      <c:catAx>
        <c:axId val="967204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67203368"/>
        <c:crosses val="autoZero"/>
        <c:auto val="1"/>
        <c:lblAlgn val="ctr"/>
        <c:lblOffset val="100"/>
        <c:noMultiLvlLbl val="0"/>
      </c:catAx>
      <c:valAx>
        <c:axId val="967203368"/>
        <c:scaling>
          <c:orientation val="minMax"/>
        </c:scaling>
        <c:delete val="1"/>
        <c:axPos val="b"/>
        <c:numFmt formatCode="General" sourceLinked="1"/>
        <c:majorTickMark val="none"/>
        <c:minorTickMark val="none"/>
        <c:tickLblPos val="nextTo"/>
        <c:crossAx val="967204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2">
          <a:lumMod val="90000"/>
        </a:schemeClr>
      </a:solidFill>
    </a:ln>
    <a:effectLst/>
  </c:spPr>
  <c:txPr>
    <a:bodyPr/>
    <a:lstStyle/>
    <a:p>
      <a:pPr>
        <a:defRPr sz="900">
          <a:solidFill>
            <a:schemeClr val="bg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47088C-F4A7-4A3F-BB8E-1865206E7261}" type="datetimeFigureOut">
              <a:rPr lang="en-US" smtClean="0"/>
              <a:t>4/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B3B444-B14D-4EEB-8B85-161F96B8CC98}"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2578512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9"/>
        <p:cNvGrpSpPr/>
        <p:nvPr/>
      </p:nvGrpSpPr>
      <p:grpSpPr>
        <a:xfrm>
          <a:off x="0" y="0"/>
          <a:ext cx="0" cy="0"/>
          <a:chOff x="0" y="0"/>
          <a:chExt cx="0" cy="0"/>
        </a:xfrm>
      </p:grpSpPr>
      <p:sp>
        <p:nvSpPr>
          <p:cNvPr id="430" name="Google Shape;430;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1" name="Google Shape;431;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08768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2700186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2" name="Google Shape;142;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3" name="Google Shape;373;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0"/>
        <p:cNvGrpSpPr/>
        <p:nvPr/>
      </p:nvGrpSpPr>
      <p:grpSpPr>
        <a:xfrm>
          <a:off x="0" y="0"/>
          <a:ext cx="0" cy="0"/>
          <a:chOff x="0" y="0"/>
          <a:chExt cx="0" cy="0"/>
        </a:xfrm>
      </p:grpSpPr>
      <p:sp>
        <p:nvSpPr>
          <p:cNvPr id="391" name="Google Shape;391;p2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2" name="Google Shape;392;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8"/>
        <p:cNvGrpSpPr/>
        <p:nvPr/>
      </p:nvGrpSpPr>
      <p:grpSpPr>
        <a:xfrm>
          <a:off x="0" y="0"/>
          <a:ext cx="0" cy="0"/>
          <a:chOff x="0" y="0"/>
          <a:chExt cx="0" cy="0"/>
        </a:xfrm>
      </p:grpSpPr>
      <p:sp>
        <p:nvSpPr>
          <p:cNvPr id="399" name="Google Shape;399;p2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0" name="Google Shape;400;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p2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8" name="Google Shape;408;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6" name="Google Shape;416;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a:solidFill>
                  <a:schemeClr val="dk1"/>
                </a:solidFill>
              </a:rPr>
              <a:t>In DBSCAN clustering, it groups ‘densely grouped’ data points into a single cluster. It can identify clusters in large spatial datasets by looking at the local density of the data points. </a:t>
            </a:r>
            <a:endParaRPr/>
          </a:p>
          <a:p>
            <a:pPr marL="0" marR="0" lvl="0" indent="0" algn="l" rtl="0">
              <a:lnSpc>
                <a:spcPct val="100000"/>
              </a:lnSpc>
              <a:spcBef>
                <a:spcPts val="0"/>
              </a:spcBef>
              <a:spcAft>
                <a:spcPts val="0"/>
              </a:spcAft>
              <a:buClr>
                <a:schemeClr val="dk1"/>
              </a:buClr>
              <a:buSzPts val="1200"/>
              <a:buFont typeface="Calibri"/>
              <a:buNone/>
            </a:pPr>
            <a:r>
              <a:rPr lang="en-US">
                <a:solidFill>
                  <a:schemeClr val="dk1"/>
                </a:solidFill>
              </a:rPr>
              <a:t>One key feature of DBSCAN clustering is that it is robust to outliers. </a:t>
            </a:r>
            <a:endParaRPr/>
          </a:p>
          <a:p>
            <a:pPr marL="0" marR="0" lvl="0" indent="0" algn="l" rtl="0">
              <a:lnSpc>
                <a:spcPct val="100000"/>
              </a:lnSpc>
              <a:spcBef>
                <a:spcPts val="0"/>
              </a:spcBef>
              <a:spcAft>
                <a:spcPts val="0"/>
              </a:spcAft>
              <a:buClr>
                <a:schemeClr val="dk1"/>
              </a:buClr>
              <a:buSzPts val="1200"/>
              <a:buFont typeface="Calibri"/>
              <a:buNone/>
            </a:pPr>
            <a:r>
              <a:rPr lang="en-US">
                <a:solidFill>
                  <a:schemeClr val="dk1"/>
                </a:solidFill>
              </a:rPr>
              <a:t>It also does not require the number of clusters to be told beforehand, unlike K-Means, where we have to specify the number of centroids.</a:t>
            </a:r>
            <a:endParaRPr/>
          </a:p>
          <a:p>
            <a:pPr marL="0" lvl="0" indent="0" algn="l" rtl="0">
              <a:spcBef>
                <a:spcPts val="0"/>
              </a:spcBef>
              <a:spcAft>
                <a:spcPts val="0"/>
              </a:spcAft>
              <a:buNone/>
            </a:pPr>
            <a:endParaRPr/>
          </a:p>
        </p:txBody>
      </p:sp>
      <p:sp>
        <p:nvSpPr>
          <p:cNvPr id="417" name="Google Shape;417;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1</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EF44048-03F3-40F0-BB0C-BE8A840A2D31}"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F44048-03F3-40F0-BB0C-BE8A840A2D31}"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F44048-03F3-40F0-BB0C-BE8A840A2D31}"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t>‹#›</a:t>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3 Jigsaw Academy Education Pvt Ltd.</a:t>
              </a: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ontent Slide">
    <p:spTree>
      <p:nvGrpSpPr>
        <p:cNvPr id="1" name=""/>
        <p:cNvGrpSpPr/>
        <p:nvPr/>
      </p:nvGrpSpPr>
      <p:grpSpPr>
        <a:xfrm>
          <a:off x="0" y="0"/>
          <a:ext cx="0" cy="0"/>
          <a:chOff x="0" y="0"/>
          <a:chExt cx="0" cy="0"/>
        </a:xfrm>
      </p:grpSpPr>
      <p:sp>
        <p:nvSpPr>
          <p:cNvPr id="18" name="Text Placeholder 14"/>
          <p:cNvSpPr>
            <a:spLocks noGrp="1"/>
          </p:cNvSpPr>
          <p:nvPr>
            <p:ph type="body" sz="quarter" idx="13"/>
          </p:nvPr>
        </p:nvSpPr>
        <p:spPr>
          <a:xfrm>
            <a:off x="616226" y="1152939"/>
            <a:ext cx="10942983" cy="5062377"/>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grpSp>
      <p:sp>
        <p:nvSpPr>
          <p:cNvPr id="23" name="Title 1"/>
          <p:cNvSpPr>
            <a:spLocks noGrp="1"/>
          </p:cNvSpPr>
          <p:nvPr>
            <p:ph type="title"/>
          </p:nvPr>
        </p:nvSpPr>
        <p:spPr>
          <a:xfrm>
            <a:off x="616226" y="180532"/>
            <a:ext cx="10942983"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extLst>
      <p:ext uri="{BB962C8B-B14F-4D97-AF65-F5344CB8AC3E}">
        <p14:creationId xmlns:p14="http://schemas.microsoft.com/office/powerpoint/2010/main" val="38019576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t>‹#›</a:t>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p:txBody>
      </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3346BAD-37E3-5547-D859-48E23AB1939F}"/>
              </a:ext>
            </a:extLst>
          </p:cNvPr>
          <p:cNvGrpSpPr/>
          <p:nvPr userDrawn="1"/>
        </p:nvGrpSpPr>
        <p:grpSpPr>
          <a:xfrm>
            <a:off x="376730" y="6299850"/>
            <a:ext cx="10528875" cy="434026"/>
            <a:chOff x="376730" y="6299850"/>
            <a:chExt cx="10528875" cy="434026"/>
          </a:xfrm>
        </p:grpSpPr>
        <p:cxnSp>
          <p:nvCxnSpPr>
            <p:cNvPr id="6" name="Straight Connector 5">
              <a:extLst>
                <a:ext uri="{FF2B5EF4-FFF2-40B4-BE49-F238E27FC236}">
                  <a16:creationId xmlns:a16="http://schemas.microsoft.com/office/drawing/2014/main" id="{C5942163-1AF5-8941-69E0-39B4F5DB3B6E}"/>
                </a:ext>
              </a:extLst>
            </p:cNvPr>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6E4F881-5E30-FB95-C696-EC1857E69ED6}"/>
                </a:ext>
              </a:extLst>
            </p:cNvPr>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3 Jigsaw Academy Education Pvt Ltd.</a:t>
              </a:r>
            </a:p>
          </p:txBody>
        </p:sp>
        <p:cxnSp>
          <p:nvCxnSpPr>
            <p:cNvPr id="8" name="Straight Connector 7">
              <a:extLst>
                <a:ext uri="{FF2B5EF4-FFF2-40B4-BE49-F238E27FC236}">
                  <a16:creationId xmlns:a16="http://schemas.microsoft.com/office/drawing/2014/main" id="{42439C69-347C-8D00-1D5A-AC151996B220}"/>
                </a:ext>
              </a:extLst>
            </p:cNvPr>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9" name="Picture 8" descr="Logo&#10;&#10;Description automatically generated with medium confidence">
            <a:extLst>
              <a:ext uri="{FF2B5EF4-FFF2-40B4-BE49-F238E27FC236}">
                <a16:creationId xmlns:a16="http://schemas.microsoft.com/office/drawing/2014/main" id="{0223952E-6F59-3131-DE58-0D8B8CCF69C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
        <p:nvSpPr>
          <p:cNvPr id="10" name="TextBox 9">
            <a:extLst>
              <a:ext uri="{FF2B5EF4-FFF2-40B4-BE49-F238E27FC236}">
                <a16:creationId xmlns:a16="http://schemas.microsoft.com/office/drawing/2014/main" id="{86F25002-E3C1-CD5F-249D-BC6B98206B4D}"/>
              </a:ext>
            </a:extLst>
          </p:cNvPr>
          <p:cNvSpPr txBox="1"/>
          <p:nvPr userDrawn="1"/>
        </p:nvSpPr>
        <p:spPr>
          <a:xfrm>
            <a:off x="529130" y="65582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spTree>
    <p:extLst>
      <p:ext uri="{BB962C8B-B14F-4D97-AF65-F5344CB8AC3E}">
        <p14:creationId xmlns:p14="http://schemas.microsoft.com/office/powerpoint/2010/main" val="47090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t>‹#›</a:t>
            </a:fld>
            <a:endParaRPr lang="en-US"/>
          </a:p>
        </p:txBody>
      </p:sp>
      <p:grpSp>
        <p:nvGrpSpPr>
          <p:cNvPr id="19" name="Group 18"/>
          <p:cNvGrpSpPr/>
          <p:nvPr userDrawn="1"/>
        </p:nvGrpSpPr>
        <p:grpSpPr>
          <a:xfrm>
            <a:off x="3161712" y="6299850"/>
            <a:ext cx="7743893" cy="434026"/>
            <a:chOff x="3161712" y="6299850"/>
            <a:chExt cx="7743893"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
        <p:nvSpPr>
          <p:cNvPr id="6" name="TextBox 5">
            <a:extLst>
              <a:ext uri="{FF2B5EF4-FFF2-40B4-BE49-F238E27FC236}">
                <a16:creationId xmlns:a16="http://schemas.microsoft.com/office/drawing/2014/main" id="{50597F7D-D1AD-1BCB-CF9D-3CA2E55B0C77}"/>
              </a:ext>
            </a:extLst>
          </p:cNvPr>
          <p:cNvSpPr txBox="1"/>
          <p:nvPr userDrawn="1"/>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ontent Slide">
    <p:spTree>
      <p:nvGrpSpPr>
        <p:cNvPr id="1" name=""/>
        <p:cNvGrpSpPr/>
        <p:nvPr/>
      </p:nvGrpSpPr>
      <p:grpSpPr>
        <a:xfrm>
          <a:off x="0" y="0"/>
          <a:ext cx="0" cy="0"/>
          <a:chOff x="0" y="0"/>
          <a:chExt cx="0" cy="0"/>
        </a:xfrm>
      </p:grpSpPr>
      <p:sp>
        <p:nvSpPr>
          <p:cNvPr id="18" name="Text Placeholder 14"/>
          <p:cNvSpPr>
            <a:spLocks noGrp="1"/>
          </p:cNvSpPr>
          <p:nvPr>
            <p:ph type="body" sz="quarter" idx="13"/>
          </p:nvPr>
        </p:nvSpPr>
        <p:spPr>
          <a:xfrm>
            <a:off x="616226" y="1152939"/>
            <a:ext cx="10942983" cy="5062377"/>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23" name="Title 1"/>
          <p:cNvSpPr>
            <a:spLocks noGrp="1"/>
          </p:cNvSpPr>
          <p:nvPr>
            <p:ph type="title"/>
          </p:nvPr>
        </p:nvSpPr>
        <p:spPr>
          <a:xfrm>
            <a:off x="616226" y="180532"/>
            <a:ext cx="10942983"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2702263C-AB3B-8D8E-A295-4A6CE0AD83D8}"/>
              </a:ext>
            </a:extLst>
          </p:cNvPr>
          <p:cNvGrpSpPr/>
          <p:nvPr userDrawn="1"/>
        </p:nvGrpSpPr>
        <p:grpSpPr>
          <a:xfrm>
            <a:off x="3161712" y="6299850"/>
            <a:ext cx="7743893" cy="434026"/>
            <a:chOff x="3161712" y="6299850"/>
            <a:chExt cx="7743893" cy="434026"/>
          </a:xfrm>
        </p:grpSpPr>
        <p:cxnSp>
          <p:nvCxnSpPr>
            <p:cNvPr id="3" name="Straight Connector 2">
              <a:extLst>
                <a:ext uri="{FF2B5EF4-FFF2-40B4-BE49-F238E27FC236}">
                  <a16:creationId xmlns:a16="http://schemas.microsoft.com/office/drawing/2014/main" id="{4DBBCB61-742B-A361-2311-4663D1668FBE}"/>
                </a:ext>
              </a:extLst>
            </p:cNvPr>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44A870C-FCBE-A37F-95FD-B14D70030F48}"/>
                </a:ext>
              </a:extLst>
            </p:cNvPr>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5" name="Picture 4" descr="Logo&#10;&#10;Description automatically generated with medium confidence">
            <a:extLst>
              <a:ext uri="{FF2B5EF4-FFF2-40B4-BE49-F238E27FC236}">
                <a16:creationId xmlns:a16="http://schemas.microsoft.com/office/drawing/2014/main" id="{E868C3AB-ECD2-BF2E-FD44-C082608AA4D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
        <p:nvSpPr>
          <p:cNvPr id="7" name="TextBox 6">
            <a:extLst>
              <a:ext uri="{FF2B5EF4-FFF2-40B4-BE49-F238E27FC236}">
                <a16:creationId xmlns:a16="http://schemas.microsoft.com/office/drawing/2014/main" id="{DF7815C4-EAFE-D630-367F-9647DE64A1FA}"/>
              </a:ext>
            </a:extLst>
          </p:cNvPr>
          <p:cNvSpPr txBox="1"/>
          <p:nvPr userDrawn="1"/>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spTree>
    <p:extLst>
      <p:ext uri="{BB962C8B-B14F-4D97-AF65-F5344CB8AC3E}">
        <p14:creationId xmlns:p14="http://schemas.microsoft.com/office/powerpoint/2010/main" val="24407530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243639993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Title 1"/>
          <p:cNvSpPr>
            <a:spLocks noGrp="1"/>
          </p:cNvSpPr>
          <p:nvPr>
            <p:ph type="title"/>
          </p:nvPr>
        </p:nvSpPr>
        <p:spPr>
          <a:xfrm>
            <a:off x="612648" y="294200"/>
            <a:ext cx="10972800" cy="590400"/>
          </a:xfrm>
        </p:spPr>
        <p:txBody>
          <a:bodyPr/>
          <a:lstStyle>
            <a:lvl1pPr>
              <a:defRPr sz="2200">
                <a:solidFill>
                  <a:schemeClr val="bg1"/>
                </a:solidFill>
                <a:latin typeface="EYInterstate Light" panose="02000506000000020004" pitchFamily="2" charset="0"/>
                <a:cs typeface="Arial" panose="020B0604020202020204" pitchFamily="34" charset="0"/>
                <a:sym typeface="EYInterstate Light" panose="02000506000000020004" pitchFamily="2" charset="0"/>
              </a:defRPr>
            </a:lvl1pPr>
          </a:lstStyle>
          <a:p>
            <a:endParaRPr lang="en-GB" dirty="0"/>
          </a:p>
        </p:txBody>
      </p:sp>
      <p:sp>
        <p:nvSpPr>
          <p:cNvPr id="10" name="Text Placeholder 3">
            <a:extLst>
              <a:ext uri="{FF2B5EF4-FFF2-40B4-BE49-F238E27FC236}">
                <a16:creationId xmlns:a16="http://schemas.microsoft.com/office/drawing/2014/main" id="{A829C0CA-44A2-4D1A-B82E-30942BE482BD}"/>
              </a:ext>
            </a:extLst>
          </p:cNvPr>
          <p:cNvSpPr>
            <a:spLocks noGrp="1"/>
          </p:cNvSpPr>
          <p:nvPr>
            <p:ph type="body" sz="quarter" idx="12" hasCustomPrompt="1"/>
          </p:nvPr>
        </p:nvSpPr>
        <p:spPr>
          <a:xfrm>
            <a:off x="612648" y="80267"/>
            <a:ext cx="5495942" cy="156966"/>
          </a:xfrm>
          <a:noFill/>
        </p:spPr>
        <p:txBody>
          <a:bodyPr vert="horz" wrap="square" lIns="0" tIns="0" rIns="0" bIns="0" rtlCol="0">
            <a:spAutoFit/>
          </a:bodyPr>
          <a:lstStyle>
            <a:lvl1pPr marL="0" indent="0">
              <a:buNone/>
              <a:defRPr lang="en-US" sz="1200" dirty="0" smtClean="0">
                <a:solidFill>
                  <a:schemeClr val="accent1"/>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tx1"/>
                </a:solidFill>
                <a:latin typeface="+mn-lt"/>
              </a:defRPr>
            </a:lvl2pPr>
            <a:lvl3pPr marL="742950" indent="0">
              <a:buNone/>
              <a:defRPr lang="en-US" sz="1800" dirty="0" smtClean="0">
                <a:solidFill>
                  <a:schemeClr val="tx1"/>
                </a:solidFill>
                <a:latin typeface="+mn-lt"/>
              </a:defRPr>
            </a:lvl3pPr>
            <a:lvl4pPr marL="1200150" indent="0">
              <a:buNone/>
              <a:defRPr lang="en-US" sz="1800" dirty="0" smtClean="0">
                <a:solidFill>
                  <a:schemeClr val="tx1"/>
                </a:solidFill>
                <a:latin typeface="+mn-lt"/>
              </a:defRPr>
            </a:lvl4pPr>
            <a:lvl5pPr marL="1657350" indent="0">
              <a:buNone/>
              <a:defRPr lang="en-US" sz="1800" dirty="0">
                <a:solidFill>
                  <a:schemeClr val="tx1"/>
                </a:solidFill>
                <a:latin typeface="+mn-lt"/>
              </a:defRPr>
            </a:lvl5pPr>
          </a:lstStyle>
          <a:p>
            <a:pPr marL="0" lvl="0">
              <a:lnSpc>
                <a:spcPct val="85000"/>
              </a:lnSpc>
              <a:spcAft>
                <a:spcPts val="600"/>
              </a:spcAft>
              <a:buSzPct val="75000"/>
            </a:pPr>
            <a:r>
              <a:rPr lang="en-US" dirty="0"/>
              <a:t>Section header</a:t>
            </a:r>
          </a:p>
        </p:txBody>
      </p:sp>
      <p:sp>
        <p:nvSpPr>
          <p:cNvPr id="13" name="Text Placeholder 5">
            <a:extLst>
              <a:ext uri="{FF2B5EF4-FFF2-40B4-BE49-F238E27FC236}">
                <a16:creationId xmlns:a16="http://schemas.microsoft.com/office/drawing/2014/main" id="{23EB26A8-D6BE-40EF-B015-A19AF92C92DD}"/>
              </a:ext>
            </a:extLst>
          </p:cNvPr>
          <p:cNvSpPr>
            <a:spLocks noGrp="1"/>
          </p:cNvSpPr>
          <p:nvPr>
            <p:ph type="body" sz="quarter" idx="13" hasCustomPrompt="1"/>
          </p:nvPr>
        </p:nvSpPr>
        <p:spPr>
          <a:xfrm>
            <a:off x="612648" y="934400"/>
            <a:ext cx="9389004" cy="228600"/>
          </a:xfr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lvl1pPr marL="0" indent="0">
              <a:buNone/>
              <a:defRPr lang="en-US" sz="1400" b="0" dirty="0" smtClean="0">
                <a:solidFill>
                  <a:srgbClr val="4B4B4B"/>
                </a:solidFill>
                <a:latin typeface="EYInterstate Light" panose="02000506000000020004" pitchFamily="2" charset="0"/>
                <a:cs typeface="Arial" panose="020B0604020202020204" pitchFamily="34" charset="0"/>
                <a:sym typeface="EYInterstate Light" panose="02000506000000020004" pitchFamily="2" charset="0"/>
              </a:defRPr>
            </a:lvl1pPr>
            <a:lvl2pPr marL="285750" indent="0">
              <a:buNone/>
              <a:defRPr lang="en-US" sz="1800" dirty="0" smtClean="0">
                <a:solidFill>
                  <a:schemeClr val="lt1"/>
                </a:solidFill>
                <a:latin typeface="+mn-lt"/>
              </a:defRPr>
            </a:lvl2pPr>
            <a:lvl3pPr marL="742950" indent="0">
              <a:buNone/>
              <a:defRPr lang="en-US" sz="1800" dirty="0" smtClean="0">
                <a:solidFill>
                  <a:schemeClr val="lt1"/>
                </a:solidFill>
                <a:latin typeface="+mn-lt"/>
              </a:defRPr>
            </a:lvl3pPr>
            <a:lvl4pPr marL="1200150" indent="0">
              <a:buNone/>
              <a:defRPr lang="en-US" sz="1800" dirty="0" smtClean="0">
                <a:solidFill>
                  <a:schemeClr val="lt1"/>
                </a:solidFill>
                <a:latin typeface="+mn-lt"/>
              </a:defRPr>
            </a:lvl4pPr>
            <a:lvl5pPr marL="1657350" indent="0">
              <a:buNone/>
              <a:defRPr lang="en-US" sz="1800" dirty="0">
                <a:solidFill>
                  <a:schemeClr val="lt1"/>
                </a:solidFill>
                <a:latin typeface="+mn-lt"/>
              </a:defRPr>
            </a:lvl5pPr>
          </a:lstStyle>
          <a:p>
            <a:pPr marL="0" lvl="0"/>
            <a:r>
              <a:rPr lang="en-US" dirty="0"/>
              <a:t>Sub-title</a:t>
            </a:r>
          </a:p>
        </p:txBody>
      </p:sp>
      <p:sp>
        <p:nvSpPr>
          <p:cNvPr id="14" name="Text Placeholder 4">
            <a:extLst>
              <a:ext uri="{FF2B5EF4-FFF2-40B4-BE49-F238E27FC236}">
                <a16:creationId xmlns:a16="http://schemas.microsoft.com/office/drawing/2014/main" id="{3C59B44E-39B9-451F-BC1F-42F490C2B8C5}"/>
              </a:ext>
            </a:extLst>
          </p:cNvPr>
          <p:cNvSpPr>
            <a:spLocks noGrp="1"/>
          </p:cNvSpPr>
          <p:nvPr>
            <p:ph type="body" sz="quarter" idx="14" hasCustomPrompt="1"/>
          </p:nvPr>
        </p:nvSpPr>
        <p:spPr>
          <a:xfrm>
            <a:off x="10060780" y="934400"/>
            <a:ext cx="1523841" cy="228600"/>
          </a:xfrm>
        </p:spPr>
        <p:txBody>
          <a:bodyPr wrap="square" anchor="ctr">
            <a:noAutofit/>
          </a:bodyPr>
          <a:lstStyle>
            <a:lvl1pPr marL="0" indent="0" algn="r">
              <a:buNone/>
              <a:defRPr sz="1050">
                <a:solidFill>
                  <a:schemeClr val="accent3"/>
                </a:solidFill>
                <a:latin typeface="EYInterstate Light" panose="02000506000000020004" pitchFamily="2" charset="0"/>
                <a:cs typeface="Arial" panose="020B0604020202020204" pitchFamily="34" charset="0"/>
                <a:sym typeface="EYInterstate Light" panose="02000506000000020004" pitchFamily="2" charset="0"/>
              </a:defRPr>
            </a:lvl1pPr>
          </a:lstStyle>
          <a:p>
            <a:pPr lvl="0"/>
            <a:r>
              <a:rPr lang="en-US" dirty="0"/>
              <a:t>Slide info</a:t>
            </a:r>
          </a:p>
        </p:txBody>
      </p:sp>
      <p:pic>
        <p:nvPicPr>
          <p:cNvPr id="9" name="Picture 2" descr="Indian Institute of Management Indore - Wikipedia">
            <a:extLst>
              <a:ext uri="{FF2B5EF4-FFF2-40B4-BE49-F238E27FC236}">
                <a16:creationId xmlns:a16="http://schemas.microsoft.com/office/drawing/2014/main" id="{9D03A384-7FDE-43E0-AFF5-7DF19F247585}"/>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38FE8F21-AC65-0CE3-BBC2-E26D6169397E}"/>
              </a:ext>
            </a:extLst>
          </p:cNvPr>
          <p:cNvGrpSpPr/>
          <p:nvPr userDrawn="1"/>
        </p:nvGrpSpPr>
        <p:grpSpPr>
          <a:xfrm>
            <a:off x="3161712" y="6299850"/>
            <a:ext cx="7743893" cy="434026"/>
            <a:chOff x="3161712" y="6299850"/>
            <a:chExt cx="7743893" cy="434026"/>
          </a:xfrm>
        </p:grpSpPr>
        <p:cxnSp>
          <p:nvCxnSpPr>
            <p:cNvPr id="4" name="Straight Connector 3">
              <a:extLst>
                <a:ext uri="{FF2B5EF4-FFF2-40B4-BE49-F238E27FC236}">
                  <a16:creationId xmlns:a16="http://schemas.microsoft.com/office/drawing/2014/main" id="{59D7C2CD-A9B9-0DB8-D020-6DC458D9AA4B}"/>
                </a:ext>
              </a:extLst>
            </p:cNvPr>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85E22ED-9D11-D323-B42F-E3200A4F4298}"/>
                </a:ext>
              </a:extLst>
            </p:cNvPr>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6" name="Picture 5" descr="Logo&#10;&#10;Description automatically generated with medium confidence">
            <a:extLst>
              <a:ext uri="{FF2B5EF4-FFF2-40B4-BE49-F238E27FC236}">
                <a16:creationId xmlns:a16="http://schemas.microsoft.com/office/drawing/2014/main" id="{FE1B9717-B00D-B971-58EC-ADE3348C46B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
        <p:nvSpPr>
          <p:cNvPr id="7" name="TextBox 6">
            <a:extLst>
              <a:ext uri="{FF2B5EF4-FFF2-40B4-BE49-F238E27FC236}">
                <a16:creationId xmlns:a16="http://schemas.microsoft.com/office/drawing/2014/main" id="{AD3542B7-AA87-9F0B-2357-980EA4320E64}"/>
              </a:ext>
            </a:extLst>
          </p:cNvPr>
          <p:cNvSpPr txBox="1"/>
          <p:nvPr userDrawn="1"/>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spTree>
    <p:extLst>
      <p:ext uri="{BB962C8B-B14F-4D97-AF65-F5344CB8AC3E}">
        <p14:creationId xmlns:p14="http://schemas.microsoft.com/office/powerpoint/2010/main" val="12344310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t>‹#›</a:t>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3 Jigsaw Academy Education Pvt Ltd.</a:t>
              </a: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t>‹#›</a:t>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3 Jigsaw Academy Education Pvt Ltd.</a:t>
              </a: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F44048-03F3-40F0-BB0C-BE8A840A2D31}"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64120" y="5850651"/>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48442" y="5881608"/>
            <a:ext cx="4114800" cy="365125"/>
          </a:xfrm>
        </p:spPr>
        <p:txBody>
          <a:bodyPr/>
          <a:lstStyle/>
          <a:p>
            <a:endParaRPr lang="en-US"/>
          </a:p>
        </p:txBody>
      </p:sp>
      <p:sp>
        <p:nvSpPr>
          <p:cNvPr id="5" name="Slide Number Placeholder 4"/>
          <p:cNvSpPr>
            <a:spLocks noGrp="1"/>
          </p:cNvSpPr>
          <p:nvPr>
            <p:ph type="sldNum" sz="quarter" idx="12"/>
          </p:nvPr>
        </p:nvSpPr>
        <p:spPr>
          <a:xfrm>
            <a:off x="9004364" y="5884856"/>
            <a:ext cx="2743200" cy="365125"/>
          </a:xfrm>
        </p:spPr>
        <p:txBody>
          <a:bodyPr/>
          <a:lstStyle/>
          <a:p>
            <a:fld id="{7F7FEF7F-D85A-4201-B820-A0FEA3130C3A}" type="slidenum">
              <a:rPr lang="en-US" smtClean="0"/>
              <a:t>‹#›</a:t>
            </a:fld>
            <a:endParaRPr lang="en-US"/>
          </a:p>
        </p:txBody>
      </p:sp>
      <p:sp>
        <p:nvSpPr>
          <p:cNvPr id="18" name="Text Placeholder 14"/>
          <p:cNvSpPr>
            <a:spLocks noGrp="1"/>
          </p:cNvSpPr>
          <p:nvPr>
            <p:ph type="body" sz="quarter" idx="13"/>
          </p:nvPr>
        </p:nvSpPr>
        <p:spPr>
          <a:xfrm>
            <a:off x="463550" y="2155178"/>
            <a:ext cx="11260279" cy="3576431"/>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6" name="Text Placeholder 14"/>
          <p:cNvSpPr>
            <a:spLocks noGrp="1"/>
          </p:cNvSpPr>
          <p:nvPr>
            <p:ph type="body" sz="quarter" idx="14"/>
          </p:nvPr>
        </p:nvSpPr>
        <p:spPr>
          <a:xfrm>
            <a:off x="463549" y="1363083"/>
            <a:ext cx="11260279" cy="602039"/>
          </a:xfrm>
        </p:spPr>
        <p:txBody>
          <a:bodyPr>
            <a:normAutofit/>
          </a:bodyPr>
          <a:lstStyle>
            <a:lvl1pPr marL="0" indent="0">
              <a:buFont typeface="Arial" panose="020B0604020202020204" pitchFamily="34" charset="0"/>
              <a:buNone/>
              <a:defRPr sz="2400">
                <a:solidFill>
                  <a:schemeClr val="tx1">
                    <a:lumMod val="85000"/>
                    <a:lumOff val="15000"/>
                  </a:schemeClr>
                </a:solidFill>
                <a:latin typeface="Arial Narrow" panose="020B060602020203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p>
          </p:txBody>
        </p:sp>
      </p:grpSp>
      <p:sp>
        <p:nvSpPr>
          <p:cNvPr id="23" name="Title 1"/>
          <p:cNvSpPr>
            <a:spLocks noGrp="1"/>
          </p:cNvSpPr>
          <p:nvPr>
            <p:ph type="title"/>
          </p:nvPr>
        </p:nvSpPr>
        <p:spPr>
          <a:xfrm>
            <a:off x="463550" y="478702"/>
            <a:ext cx="11260278"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p:cSld name="2_Content Slide">
    <p:spTree>
      <p:nvGrpSpPr>
        <p:cNvPr id="1" name="Shape 33"/>
        <p:cNvGrpSpPr/>
        <p:nvPr/>
      </p:nvGrpSpPr>
      <p:grpSpPr>
        <a:xfrm>
          <a:off x="0" y="0"/>
          <a:ext cx="0" cy="0"/>
          <a:chOff x="0" y="0"/>
          <a:chExt cx="0" cy="0"/>
        </a:xfrm>
      </p:grpSpPr>
      <p:sp>
        <p:nvSpPr>
          <p:cNvPr id="34" name="Google Shape;34;p4"/>
          <p:cNvSpPr txBox="1">
            <a:spLocks noGrp="1"/>
          </p:cNvSpPr>
          <p:nvPr>
            <p:ph type="dt" idx="10"/>
          </p:nvPr>
        </p:nvSpPr>
        <p:spPr>
          <a:xfrm>
            <a:off x="464120" y="58506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4"/>
          <p:cNvSpPr txBox="1">
            <a:spLocks noGrp="1"/>
          </p:cNvSpPr>
          <p:nvPr>
            <p:ph type="ftr" idx="11"/>
          </p:nvPr>
        </p:nvSpPr>
        <p:spPr>
          <a:xfrm>
            <a:off x="4048442" y="5881608"/>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4"/>
          <p:cNvSpPr txBox="1">
            <a:spLocks noGrp="1"/>
          </p:cNvSpPr>
          <p:nvPr>
            <p:ph type="sldNum" idx="12"/>
          </p:nvPr>
        </p:nvSpPr>
        <p:spPr>
          <a:xfrm>
            <a:off x="9004364" y="58848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7" name="Google Shape;37;p4"/>
          <p:cNvSpPr txBox="1">
            <a:spLocks noGrp="1"/>
          </p:cNvSpPr>
          <p:nvPr>
            <p:ph type="body" idx="1"/>
          </p:nvPr>
        </p:nvSpPr>
        <p:spPr>
          <a:xfrm>
            <a:off x="463550" y="2155178"/>
            <a:ext cx="11260279" cy="3576431"/>
          </a:xfrm>
          <a:prstGeom prst="rect">
            <a:avLst/>
          </a:prstGeom>
          <a:noFill/>
          <a:ln>
            <a:noFill/>
          </a:ln>
        </p:spPr>
        <p:txBody>
          <a:bodyPr spcFirstLastPara="1" wrap="square" lIns="91425" tIns="45700" rIns="91425" bIns="45700" anchor="t" anchorCtr="0">
            <a:normAutofit/>
          </a:bodyPr>
          <a:lstStyle>
            <a:lvl1pPr marL="457200" lvl="0" indent="-330200" algn="l">
              <a:lnSpc>
                <a:spcPct val="90000"/>
              </a:lnSpc>
              <a:spcBef>
                <a:spcPts val="1000"/>
              </a:spcBef>
              <a:spcAft>
                <a:spcPts val="0"/>
              </a:spcAft>
              <a:buClr>
                <a:srgbClr val="262626"/>
              </a:buClr>
              <a:buSzPts val="1600"/>
              <a:buFont typeface="Calibri"/>
              <a:buChar char="•"/>
              <a:defRPr sz="1600">
                <a:solidFill>
                  <a:srgbClr val="262626"/>
                </a:solidFill>
              </a:defRPr>
            </a:lvl1pPr>
            <a:lvl2pPr marL="914400" lvl="1" indent="-330200" algn="l">
              <a:lnSpc>
                <a:spcPct val="90000"/>
              </a:lnSpc>
              <a:spcBef>
                <a:spcPts val="500"/>
              </a:spcBef>
              <a:spcAft>
                <a:spcPts val="0"/>
              </a:spcAft>
              <a:buClr>
                <a:srgbClr val="262626"/>
              </a:buClr>
              <a:buSzPts val="1600"/>
              <a:buFont typeface="Calibri"/>
              <a:buChar char="•"/>
              <a:defRPr sz="16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 name="Google Shape;38;p4"/>
          <p:cNvSpPr txBox="1">
            <a:spLocks noGrp="1"/>
          </p:cNvSpPr>
          <p:nvPr>
            <p:ph type="body" idx="2"/>
          </p:nvPr>
        </p:nvSpPr>
        <p:spPr>
          <a:xfrm>
            <a:off x="463549" y="1363083"/>
            <a:ext cx="11260279" cy="60203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262626"/>
              </a:buClr>
              <a:buSzPts val="2400"/>
              <a:buFont typeface="Arial"/>
              <a:buNone/>
              <a:defRPr sz="2400">
                <a:solidFill>
                  <a:srgbClr val="262626"/>
                </a:solidFill>
                <a:latin typeface="Arial Narrow"/>
                <a:ea typeface="Arial Narrow"/>
                <a:cs typeface="Arial Narrow"/>
                <a:sym typeface="Arial Narrow"/>
              </a:defRPr>
            </a:lvl1pPr>
            <a:lvl2pPr marL="914400" lvl="1" indent="-355600" algn="l">
              <a:lnSpc>
                <a:spcPct val="90000"/>
              </a:lnSpc>
              <a:spcBef>
                <a:spcPts val="500"/>
              </a:spcBef>
              <a:spcAft>
                <a:spcPts val="0"/>
              </a:spcAft>
              <a:buClr>
                <a:srgbClr val="262626"/>
              </a:buClr>
              <a:buSzPts val="2000"/>
              <a:buFont typeface="Calibri"/>
              <a:buChar char="•"/>
              <a:defRPr sz="2000">
                <a:solidFill>
                  <a:srgbClr val="262626"/>
                </a:solidFill>
              </a:defRPr>
            </a:lvl2pPr>
            <a:lvl3pPr marL="1371600" lvl="2" indent="-355600" algn="l">
              <a:lnSpc>
                <a:spcPct val="90000"/>
              </a:lnSpc>
              <a:spcBef>
                <a:spcPts val="500"/>
              </a:spcBef>
              <a:spcAft>
                <a:spcPts val="0"/>
              </a:spcAft>
              <a:buClr>
                <a:srgbClr val="7F7F7F"/>
              </a:buClr>
              <a:buSzPts val="2000"/>
              <a:buChar char="•"/>
              <a:defRPr>
                <a:solidFill>
                  <a:srgbClr val="7F7F7F"/>
                </a:solidFill>
              </a:defRPr>
            </a:lvl3pPr>
            <a:lvl4pPr marL="1828800" lvl="3" indent="-342900" algn="l">
              <a:lnSpc>
                <a:spcPct val="90000"/>
              </a:lnSpc>
              <a:spcBef>
                <a:spcPts val="500"/>
              </a:spcBef>
              <a:spcAft>
                <a:spcPts val="0"/>
              </a:spcAft>
              <a:buClr>
                <a:srgbClr val="7F7F7F"/>
              </a:buClr>
              <a:buSzPts val="1800"/>
              <a:buChar char="•"/>
              <a:defRPr>
                <a:solidFill>
                  <a:srgbClr val="7F7F7F"/>
                </a:solidFill>
              </a:defRPr>
            </a:lvl4pPr>
            <a:lvl5pPr marL="2286000" lvl="4" indent="-342900" algn="l">
              <a:lnSpc>
                <a:spcPct val="90000"/>
              </a:lnSpc>
              <a:spcBef>
                <a:spcPts val="500"/>
              </a:spcBef>
              <a:spcAft>
                <a:spcPts val="0"/>
              </a:spcAft>
              <a:buClr>
                <a:srgbClr val="7F7F7F"/>
              </a:buClr>
              <a:buSzPts val="1800"/>
              <a:buChar char="•"/>
              <a:defRPr>
                <a:solidFill>
                  <a:srgbClr val="7F7F7F"/>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title"/>
          </p:nvPr>
        </p:nvSpPr>
        <p:spPr>
          <a:xfrm>
            <a:off x="463550" y="478702"/>
            <a:ext cx="11260278" cy="71321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62626"/>
              </a:buClr>
              <a:buSzPts val="3600"/>
              <a:buFont typeface="Arial Narrow"/>
              <a:buNone/>
              <a:defRPr sz="3600">
                <a:solidFill>
                  <a:srgbClr val="262626"/>
                </a:solidFill>
                <a:latin typeface="Arial Narrow"/>
                <a:ea typeface="Arial Narrow"/>
                <a:cs typeface="Arial Narrow"/>
                <a:sym typeface="Arial Narrow"/>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1350851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Interim Slide">
    <p:spTree>
      <p:nvGrpSpPr>
        <p:cNvPr id="1" name=""/>
        <p:cNvGrpSpPr/>
        <p:nvPr/>
      </p:nvGrpSpPr>
      <p:grpSpPr>
        <a:xfrm>
          <a:off x="0" y="0"/>
          <a:ext cx="0" cy="0"/>
          <a:chOff x="0" y="0"/>
          <a:chExt cx="0" cy="0"/>
        </a:xfrm>
      </p:grpSpPr>
      <p:pic>
        <p:nvPicPr>
          <p:cNvPr id="14" name="Picture 13" descr="A blue rectangle with a white background&#10;&#10;Description automatically generated with low confidenc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72"/>
            <a:ext cx="12192000" cy="6871744"/>
          </a:xfrm>
          <a:prstGeom prst="rect">
            <a:avLst/>
          </a:prstGeom>
        </p:spPr>
      </p:pic>
      <p:sp>
        <p:nvSpPr>
          <p:cNvPr id="3" name="Date Placeholder 2"/>
          <p:cNvSpPr>
            <a:spLocks noGrp="1"/>
          </p:cNvSpPr>
          <p:nvPr>
            <p:ph type="dt" sz="half" idx="10"/>
          </p:nvPr>
        </p:nvSpPr>
        <p:spPr>
          <a:xfrm>
            <a:off x="510810" y="5913465"/>
            <a:ext cx="2743200" cy="365125"/>
          </a:xfrm>
        </p:spPr>
        <p:txBody>
          <a:bodyPr/>
          <a:lstStyle/>
          <a:p>
            <a:fld id="{516E5C65-A6A4-4D7E-A8A9-35240D7FED8F}" type="datetimeFigureOut">
              <a:rPr lang="en-US" smtClean="0"/>
              <a:t>4/24/2023</a:t>
            </a:fld>
            <a:endParaRPr lang="en-US"/>
          </a:p>
        </p:txBody>
      </p:sp>
      <p:sp>
        <p:nvSpPr>
          <p:cNvPr id="4" name="Footer Placeholder 3"/>
          <p:cNvSpPr>
            <a:spLocks noGrp="1"/>
          </p:cNvSpPr>
          <p:nvPr>
            <p:ph type="ftr" sz="quarter" idx="11"/>
          </p:nvPr>
        </p:nvSpPr>
        <p:spPr>
          <a:xfrm>
            <a:off x="4038600" y="5913465"/>
            <a:ext cx="4114800" cy="365125"/>
          </a:xfrm>
        </p:spPr>
        <p:txBody>
          <a:bodyPr/>
          <a:lstStyle/>
          <a:p>
            <a:endParaRPr lang="en-US"/>
          </a:p>
        </p:txBody>
      </p:sp>
      <p:sp>
        <p:nvSpPr>
          <p:cNvPr id="2" name="Title 1"/>
          <p:cNvSpPr>
            <a:spLocks noGrp="1"/>
          </p:cNvSpPr>
          <p:nvPr>
            <p:ph type="title"/>
          </p:nvPr>
        </p:nvSpPr>
        <p:spPr>
          <a:xfrm>
            <a:off x="510810" y="2684611"/>
            <a:ext cx="10515600" cy="1325563"/>
          </a:xfrm>
        </p:spPr>
        <p:txBody>
          <a:bodyPr>
            <a:normAutofit/>
          </a:bodyPr>
          <a:lstStyle>
            <a:lvl1pPr>
              <a:defRPr sz="4400" b="1" baseline="0">
                <a:solidFill>
                  <a:schemeClr val="bg1"/>
                </a:solidFill>
                <a:latin typeface="Arial Narrow" panose="020B060602020203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9004365" y="5913465"/>
            <a:ext cx="2743200" cy="365125"/>
          </a:xfrm>
        </p:spPr>
        <p:txBody>
          <a:bodyPr/>
          <a:lstStyle/>
          <a:p>
            <a:fld id="{7F7FEF7F-D85A-4201-B820-A0FEA3130C3A}" type="slidenum">
              <a:rPr lang="en-US" smtClean="0"/>
              <a:t>‹#›</a:t>
            </a:fld>
            <a:endParaRPr lang="en-US"/>
          </a:p>
        </p:txBody>
      </p:sp>
      <p:grpSp>
        <p:nvGrpSpPr>
          <p:cNvPr id="19" name="Group 18"/>
          <p:cNvGrpSpPr/>
          <p:nvPr userDrawn="1"/>
        </p:nvGrpSpPr>
        <p:grpSpPr>
          <a:xfrm>
            <a:off x="376730" y="6299850"/>
            <a:ext cx="10528875" cy="434026"/>
            <a:chOff x="376730" y="6299850"/>
            <a:chExt cx="10528875" cy="434026"/>
          </a:xfrm>
        </p:grpSpPr>
        <p:cxnSp>
          <p:nvCxnSpPr>
            <p:cNvPr id="20" name="Straight Connector 19"/>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730" y="6405832"/>
              <a:ext cx="2863733" cy="276999"/>
            </a:xfrm>
            <a:prstGeom prst="rect">
              <a:avLst/>
            </a:prstGeom>
            <a:noFill/>
            <a:ln>
              <a:noFill/>
            </a:ln>
          </p:spPr>
          <p:txBody>
            <a:bodyPr wrap="none" rtlCol="0">
              <a:spAutoFit/>
            </a:bodyPr>
            <a:lstStyle/>
            <a:p>
              <a:r>
                <a:rPr lang="en-IN" sz="1200" b="0" i="0" kern="1200" dirty="0">
                  <a:solidFill>
                    <a:schemeClr val="bg1"/>
                  </a:solidFill>
                  <a:effectLst/>
                  <a:latin typeface="+mn-lt"/>
                  <a:ea typeface="+mn-ea"/>
                  <a:cs typeface="+mn-cs"/>
                </a:rPr>
                <a:t>© 2023 Jigsaw Academy Education Pvt Ltd.</a:t>
              </a:r>
            </a:p>
          </p:txBody>
        </p:sp>
        <p:cxnSp>
          <p:nvCxnSpPr>
            <p:cNvPr id="31" name="Straight Connector 30"/>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Indian Institute of Management Indore - Wikipedia"/>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with medium confidenc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Content Slide">
    <p:spTree>
      <p:nvGrpSpPr>
        <p:cNvPr id="1" name=""/>
        <p:cNvGrpSpPr/>
        <p:nvPr/>
      </p:nvGrpSpPr>
      <p:grpSpPr>
        <a:xfrm>
          <a:off x="0" y="0"/>
          <a:ext cx="0" cy="0"/>
          <a:chOff x="0" y="0"/>
          <a:chExt cx="0" cy="0"/>
        </a:xfrm>
      </p:grpSpPr>
      <p:sp>
        <p:nvSpPr>
          <p:cNvPr id="18" name="Text Placeholder 14"/>
          <p:cNvSpPr>
            <a:spLocks noGrp="1"/>
          </p:cNvSpPr>
          <p:nvPr>
            <p:ph type="body" sz="quarter" idx="13"/>
          </p:nvPr>
        </p:nvSpPr>
        <p:spPr>
          <a:xfrm>
            <a:off x="616226" y="1152939"/>
            <a:ext cx="10942983" cy="5062377"/>
          </a:xfrm>
        </p:spPr>
        <p:txBody>
          <a:bodyPr/>
          <a:lstStyle>
            <a:lvl1pPr marL="228600" indent="-228600">
              <a:buFontTx/>
              <a:buBlip>
                <a:blip r:embed="rId2"/>
              </a:buBlip>
              <a:defRPr sz="1600">
                <a:solidFill>
                  <a:schemeClr val="tx1">
                    <a:lumMod val="85000"/>
                    <a:lumOff val="15000"/>
                  </a:schemeClr>
                </a:solidFill>
              </a:defRPr>
            </a:lvl1pPr>
            <a:lvl2pPr marL="685800" indent="-228600">
              <a:buFontTx/>
              <a:buBlip>
                <a:blip r:embed="rId3"/>
              </a:buBlip>
              <a:defRPr sz="16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grpSp>
        <p:nvGrpSpPr>
          <p:cNvPr id="17" name="Group 16"/>
          <p:cNvGrpSpPr/>
          <p:nvPr userDrawn="1"/>
        </p:nvGrpSpPr>
        <p:grpSpPr>
          <a:xfrm>
            <a:off x="376730" y="6405832"/>
            <a:ext cx="10131613" cy="276999"/>
            <a:chOff x="376730" y="6405832"/>
            <a:chExt cx="10131613" cy="276999"/>
          </a:xfrm>
        </p:grpSpPr>
        <p:cxnSp>
          <p:nvCxnSpPr>
            <p:cNvPr id="20" name="Straight Connector 19"/>
            <p:cNvCxnSpPr/>
            <p:nvPr/>
          </p:nvCxnSpPr>
          <p:spPr>
            <a:xfrm>
              <a:off x="3161712" y="6544331"/>
              <a:ext cx="7346631" cy="0"/>
            </a:xfrm>
            <a:prstGeom prst="line">
              <a:avLst/>
            </a:prstGeom>
            <a:ln>
              <a:solidFill>
                <a:srgbClr val="00A0CC"/>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1 Jigsaw Academy Education Pvt Ltd.</a:t>
              </a:r>
            </a:p>
          </p:txBody>
        </p:sp>
      </p:grpSp>
      <p:sp>
        <p:nvSpPr>
          <p:cNvPr id="23" name="Title 1"/>
          <p:cNvSpPr>
            <a:spLocks noGrp="1"/>
          </p:cNvSpPr>
          <p:nvPr>
            <p:ph type="title"/>
          </p:nvPr>
        </p:nvSpPr>
        <p:spPr>
          <a:xfrm>
            <a:off x="616226" y="180532"/>
            <a:ext cx="10942983" cy="713216"/>
          </a:xfrm>
        </p:spPr>
        <p:txBody>
          <a:bodyPr>
            <a:normAutofit/>
          </a:bodyPr>
          <a:lstStyle>
            <a:lvl1pPr>
              <a:defRPr sz="3600">
                <a:solidFill>
                  <a:schemeClr val="tx1">
                    <a:lumMod val="85000"/>
                    <a:lumOff val="15000"/>
                  </a:schemeClr>
                </a:solidFill>
                <a:latin typeface="Arial Narrow" panose="020B0606020202030204" pitchFamily="34" charset="0"/>
              </a:defRPr>
            </a:lvl1pPr>
          </a:lstStyle>
          <a:p>
            <a:r>
              <a:rPr lang="en-US" dirty="0"/>
              <a:t>Click to edit Master title style</a:t>
            </a:r>
          </a:p>
        </p:txBody>
      </p:sp>
      <p:pic>
        <p:nvPicPr>
          <p:cNvPr id="14" name="Picture 2" descr="Indian Institute of Management Indore - Wikipedia"/>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medium confidence"/>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Tree>
    <p:extLst>
      <p:ext uri="{BB962C8B-B14F-4D97-AF65-F5344CB8AC3E}">
        <p14:creationId xmlns:p14="http://schemas.microsoft.com/office/powerpoint/2010/main" val="1728496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EF44048-03F3-40F0-BB0C-BE8A840A2D31}"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F44048-03F3-40F0-BB0C-BE8A840A2D31}" type="datetimeFigureOut">
              <a:rPr lang="en-US" smtClean="0"/>
              <a:t>4/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EF44048-03F3-40F0-BB0C-BE8A840A2D31}" type="datetimeFigureOut">
              <a:rPr lang="en-US" smtClean="0"/>
              <a:t>4/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EF44048-03F3-40F0-BB0C-BE8A840A2D31}" type="datetimeFigureOut">
              <a:rPr lang="en-US" smtClean="0"/>
              <a:t>4/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F44048-03F3-40F0-BB0C-BE8A840A2D31}" type="datetimeFigureOut">
              <a:rPr lang="en-US" smtClean="0"/>
              <a:t>4/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EF44048-03F3-40F0-BB0C-BE8A840A2D31}" type="datetimeFigureOut">
              <a:rPr lang="en-US" smtClean="0"/>
              <a:t>4/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EF44048-03F3-40F0-BB0C-BE8A840A2D31}" type="datetimeFigureOut">
              <a:rPr lang="en-US" smtClean="0"/>
              <a:t>4/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8AB34-56CB-4F8F-B8CD-D5E130F3B6DB}"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F44048-03F3-40F0-BB0C-BE8A840A2D31}" type="datetimeFigureOut">
              <a:rPr lang="en-US" smtClean="0"/>
              <a:t>4/2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8AB34-56CB-4F8F-B8CD-D5E130F3B6DB}"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930" r:id="rId13"/>
    <p:sldLayoutId id="2147483935" r:id="rId14"/>
    <p:sldLayoutId id="2147483786" r:id="rId15"/>
    <p:sldLayoutId id="2147483934" r:id="rId16"/>
    <p:sldLayoutId id="2147483936" r:id="rId17"/>
    <p:sldLayoutId id="2147483702" r:id="rId18"/>
    <p:sldLayoutId id="2147483674" r:id="rId19"/>
    <p:sldLayoutId id="2147483675" r:id="rId20"/>
    <p:sldLayoutId id="2147483937" r:id="rId21"/>
    <p:sldLayoutId id="2147483716" r:id="rId22"/>
    <p:sldLayoutId id="2147483931"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4.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emf"/><Relationship Id="rId11" Type="http://schemas.openxmlformats.org/officeDocument/2006/relationships/image" Target="../media/image21.png"/><Relationship Id="rId5" Type="http://schemas.openxmlformats.org/officeDocument/2006/relationships/oleObject" Target="../embeddings/oleObject3.bin"/><Relationship Id="rId10" Type="http://schemas.openxmlformats.org/officeDocument/2006/relationships/image" Target="../media/image20.png"/><Relationship Id="rId4" Type="http://schemas.openxmlformats.org/officeDocument/2006/relationships/notesSlide" Target="../notesSlides/notesSlide2.xml"/><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7.xml"/><Relationship Id="rId7" Type="http://schemas.openxmlformats.org/officeDocument/2006/relationships/image" Target="../media/image2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10" Type="http://schemas.openxmlformats.org/officeDocument/2006/relationships/image" Target="../media/image26.png"/><Relationship Id="rId4" Type="http://schemas.openxmlformats.org/officeDocument/2006/relationships/notesSlide" Target="../notesSlides/notesSlide3.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4.xml"/><Relationship Id="rId5" Type="http://schemas.openxmlformats.org/officeDocument/2006/relationships/image" Target="../media/image5.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jpe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32.jpg"/></Relationships>
</file>

<file path=ppt/slides/_rels/slide19.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36.jp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38.jpg"/></Relationships>
</file>

<file path=ppt/slides/_rels/slide2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38.jpg"/><Relationship Id="rId5" Type="http://schemas.openxmlformats.org/officeDocument/2006/relationships/image" Target="../media/image33.jpg"/><Relationship Id="rId4" Type="http://schemas.openxmlformats.org/officeDocument/2006/relationships/image" Target="../media/image36.jpg"/></Relationships>
</file>

<file path=ppt/slides/_rels/slide2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3.xml"/><Relationship Id="rId5" Type="http://schemas.openxmlformats.org/officeDocument/2006/relationships/image" Target="../media/image45.png"/><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xml"/><Relationship Id="rId5" Type="http://schemas.openxmlformats.org/officeDocument/2006/relationships/image" Target="../media/image49.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emf"/><Relationship Id="rId2" Type="http://schemas.openxmlformats.org/officeDocument/2006/relationships/image" Target="../media/image50.png"/><Relationship Id="rId1" Type="http://schemas.openxmlformats.org/officeDocument/2006/relationships/slideLayout" Target="../slideLayouts/slideLayout13.xml"/><Relationship Id="rId6" Type="http://schemas.openxmlformats.org/officeDocument/2006/relationships/image" Target="../media/image54.emf"/><Relationship Id="rId5" Type="http://schemas.openxmlformats.org/officeDocument/2006/relationships/image" Target="../media/image53.png"/><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https://data.world/stellabigail/adidas-us-sales-datasets" TargetMode="Externa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0.xml"/><Relationship Id="rId5" Type="http://schemas.openxmlformats.org/officeDocument/2006/relationships/image" Target="../media/image3.pn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7.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2.bin"/><Relationship Id="rId10" Type="http://schemas.openxmlformats.org/officeDocument/2006/relationships/image" Target="../media/image16.png"/><Relationship Id="rId4" Type="http://schemas.openxmlformats.org/officeDocument/2006/relationships/notesSlide" Target="../notesSlides/notesSlide1.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picture containing graphical user interface&#10;&#10;Description automatically generate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2" y="-9448"/>
            <a:ext cx="12201142" cy="6876896"/>
          </a:xfrm>
          <a:prstGeom prst="rect">
            <a:avLst/>
          </a:prstGeom>
        </p:spPr>
      </p:pic>
      <p:sp>
        <p:nvSpPr>
          <p:cNvPr id="13" name="Text Placeholder 4"/>
          <p:cNvSpPr txBox="1"/>
          <p:nvPr/>
        </p:nvSpPr>
        <p:spPr>
          <a:xfrm>
            <a:off x="170180" y="2744599"/>
            <a:ext cx="7155180" cy="94348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latin typeface="Century Gothic" panose="020B0502020202020204" pitchFamily="34" charset="0"/>
                <a:cs typeface="Arial" panose="020B0604020202020204" pitchFamily="34" charset="0"/>
              </a:rPr>
              <a:t>"Uncovering patterns through clustering using unsupervised learning"</a:t>
            </a:r>
          </a:p>
        </p:txBody>
      </p:sp>
      <p:sp>
        <p:nvSpPr>
          <p:cNvPr id="16" name="Text Placeholder 4"/>
          <p:cNvSpPr txBox="1"/>
          <p:nvPr/>
        </p:nvSpPr>
        <p:spPr>
          <a:xfrm>
            <a:off x="170180" y="3776723"/>
            <a:ext cx="6779663" cy="112164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lang="en-US" sz="4800" b="1" kern="1200" dirty="0" smtClean="0">
                <a:solidFill>
                  <a:srgbClr val="0070C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2000" dirty="0">
                <a:solidFill>
                  <a:schemeClr val="bg1"/>
                </a:solidFill>
                <a:latin typeface="Century Gothic" panose="020B0502020202020204" pitchFamily="34" charset="0"/>
              </a:rPr>
              <a:t>IPBA Batch 13 – Group A</a:t>
            </a:r>
          </a:p>
          <a:p>
            <a:r>
              <a:rPr lang="en-IN" sz="1600" dirty="0">
                <a:solidFill>
                  <a:srgbClr val="FFFF00"/>
                </a:solidFill>
                <a:latin typeface="Century Gothic" panose="020B0502020202020204" pitchFamily="34" charset="0"/>
              </a:rPr>
              <a:t>John Reynolds | Anuj Tiwari | Ashish Mahajan| Suraj Gutte </a:t>
            </a:r>
          </a:p>
          <a:p>
            <a:r>
              <a:rPr lang="en-IN" sz="1600" dirty="0" err="1">
                <a:solidFill>
                  <a:srgbClr val="FFFF00"/>
                </a:solidFill>
                <a:latin typeface="Century Gothic" panose="020B0502020202020204" pitchFamily="34" charset="0"/>
              </a:rPr>
              <a:t>Trompess</a:t>
            </a:r>
            <a:r>
              <a:rPr lang="en-IN" sz="1600" dirty="0">
                <a:solidFill>
                  <a:srgbClr val="FFFF00"/>
                </a:solidFill>
                <a:latin typeface="Century Gothic" panose="020B0502020202020204" pitchFamily="34" charset="0"/>
              </a:rPr>
              <a:t> Francis | Simrat Kaur | Rahila Rajvada | Priya Roy</a:t>
            </a:r>
          </a:p>
        </p:txBody>
      </p:sp>
      <p:pic>
        <p:nvPicPr>
          <p:cNvPr id="20" name="Picture 2" descr="Indian Institute of Management Indore - Wikiped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957" y="75842"/>
            <a:ext cx="411718" cy="66391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Logo&#10;&#10;Description automatically generated with medium confidenc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10219" y="75842"/>
            <a:ext cx="1392824" cy="66391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9F1A3-759F-4DAF-BB11-CCF966185F4A}"/>
              </a:ext>
            </a:extLst>
          </p:cNvPr>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5" name="Object 14" hidden="1">
                        <a:extLst>
                          <a:ext uri="{FF2B5EF4-FFF2-40B4-BE49-F238E27FC236}">
                            <a16:creationId xmlns:a16="http://schemas.microsoft.com/office/drawing/2014/main" id="{EC09F1A3-759F-4DAF-BB11-CCF966185F4A}"/>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542B52-395D-44F2-B432-F769FC2834A7}"/>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4" name="Title 25">
            <a:extLst>
              <a:ext uri="{FF2B5EF4-FFF2-40B4-BE49-F238E27FC236}">
                <a16:creationId xmlns:a16="http://schemas.microsoft.com/office/drawing/2014/main" id="{66122E33-DFEB-43FE-B1AC-1E9BCFF28CCF}"/>
              </a:ext>
            </a:extLst>
          </p:cNvPr>
          <p:cNvSpPr txBox="1">
            <a:spLocks/>
          </p:cNvSpPr>
          <p:nvPr/>
        </p:nvSpPr>
        <p:spPr>
          <a:xfrm>
            <a:off x="506203" y="7583"/>
            <a:ext cx="10811830"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IN" sz="2800" b="1" i="0" u="none" strike="noStrike" dirty="0">
                <a:solidFill>
                  <a:srgbClr val="000000"/>
                </a:solidFill>
                <a:effectLst/>
                <a:latin typeface="Arial" panose="020B0604020202020204" pitchFamily="34" charset="0"/>
              </a:rPr>
              <a:t>Exploratory Data Analysis – </a:t>
            </a:r>
            <a:r>
              <a:rPr lang="en-IN" sz="2000" b="1" i="0" u="none" strike="noStrike" dirty="0">
                <a:solidFill>
                  <a:srgbClr val="0070C0"/>
                </a:solidFill>
                <a:effectLst/>
                <a:latin typeface="Arial" panose="020B0604020202020204" pitchFamily="34" charset="0"/>
              </a:rPr>
              <a:t>Bivariate</a:t>
            </a:r>
            <a:r>
              <a:rPr lang="en-IN" sz="2400" b="1" i="0" u="none" strike="noStrike" dirty="0">
                <a:solidFill>
                  <a:srgbClr val="0070C0"/>
                </a:solidFill>
                <a:effectLst/>
                <a:latin typeface="Arial" panose="020B0604020202020204" pitchFamily="34" charset="0"/>
              </a:rPr>
              <a:t> </a:t>
            </a:r>
            <a:r>
              <a:rPr lang="en-IN" sz="2400" b="0" i="0" dirty="0">
                <a:solidFill>
                  <a:srgbClr val="0070C0"/>
                </a:solidFill>
                <a:effectLst/>
                <a:latin typeface="Arial" panose="020B0604020202020204" pitchFamily="34" charset="0"/>
              </a:rPr>
              <a:t>​</a:t>
            </a:r>
            <a:endParaRPr lang="en-US" sz="4000" b="1" dirty="0">
              <a:solidFill>
                <a:schemeClr val="tx1"/>
              </a:solidFill>
              <a:latin typeface="Arial" panose="020B0604020202020204" pitchFamily="34" charset="0"/>
            </a:endParaRPr>
          </a:p>
        </p:txBody>
      </p:sp>
      <p:grpSp>
        <p:nvGrpSpPr>
          <p:cNvPr id="28" name="Group 27">
            <a:extLst>
              <a:ext uri="{FF2B5EF4-FFF2-40B4-BE49-F238E27FC236}">
                <a16:creationId xmlns:a16="http://schemas.microsoft.com/office/drawing/2014/main" id="{538E1076-2E29-8047-CB7C-FEBB1D565652}"/>
              </a:ext>
            </a:extLst>
          </p:cNvPr>
          <p:cNvGrpSpPr/>
          <p:nvPr/>
        </p:nvGrpSpPr>
        <p:grpSpPr>
          <a:xfrm>
            <a:off x="7225746" y="3552223"/>
            <a:ext cx="4551270" cy="3259608"/>
            <a:chOff x="6679275" y="3144944"/>
            <a:chExt cx="5455890" cy="3666888"/>
          </a:xfrm>
        </p:grpSpPr>
        <p:pic>
          <p:nvPicPr>
            <p:cNvPr id="18" name="Picture 17">
              <a:extLst>
                <a:ext uri="{FF2B5EF4-FFF2-40B4-BE49-F238E27FC236}">
                  <a16:creationId xmlns:a16="http://schemas.microsoft.com/office/drawing/2014/main" id="{FD6513F7-E884-0412-16A2-476E11AC7CDF}"/>
                </a:ext>
              </a:extLst>
            </p:cNvPr>
            <p:cNvPicPr>
              <a:picLocks noChangeAspect="1"/>
            </p:cNvPicPr>
            <p:nvPr/>
          </p:nvPicPr>
          <p:blipFill rotWithShape="1">
            <a:blip r:embed="rId7"/>
            <a:srcRect r="2575"/>
            <a:stretch/>
          </p:blipFill>
          <p:spPr>
            <a:xfrm>
              <a:off x="6679275" y="3144944"/>
              <a:ext cx="5455890" cy="3666888"/>
            </a:xfrm>
            <a:prstGeom prst="rect">
              <a:avLst/>
            </a:prstGeom>
          </p:spPr>
        </p:pic>
        <p:pic>
          <p:nvPicPr>
            <p:cNvPr id="20" name="Picture 19">
              <a:extLst>
                <a:ext uri="{FF2B5EF4-FFF2-40B4-BE49-F238E27FC236}">
                  <a16:creationId xmlns:a16="http://schemas.microsoft.com/office/drawing/2014/main" id="{8475F082-29FF-AD66-D3E7-793DB3715820}"/>
                </a:ext>
              </a:extLst>
            </p:cNvPr>
            <p:cNvPicPr>
              <a:picLocks noChangeAspect="1"/>
            </p:cNvPicPr>
            <p:nvPr/>
          </p:nvPicPr>
          <p:blipFill rotWithShape="1">
            <a:blip r:embed="rId8"/>
            <a:srcRect t="15041"/>
            <a:stretch/>
          </p:blipFill>
          <p:spPr>
            <a:xfrm>
              <a:off x="7402164" y="3164723"/>
              <a:ext cx="1401914" cy="850744"/>
            </a:xfrm>
            <a:prstGeom prst="rect">
              <a:avLst/>
            </a:prstGeom>
          </p:spPr>
        </p:pic>
      </p:grpSp>
      <p:sp>
        <p:nvSpPr>
          <p:cNvPr id="22" name="TextBox 21">
            <a:extLst>
              <a:ext uri="{FF2B5EF4-FFF2-40B4-BE49-F238E27FC236}">
                <a16:creationId xmlns:a16="http://schemas.microsoft.com/office/drawing/2014/main" id="{511F0A0C-8B57-BE94-13A9-0B687C42799D}"/>
              </a:ext>
            </a:extLst>
          </p:cNvPr>
          <p:cNvSpPr txBox="1"/>
          <p:nvPr/>
        </p:nvSpPr>
        <p:spPr>
          <a:xfrm>
            <a:off x="414984" y="4970632"/>
            <a:ext cx="6519644" cy="1600438"/>
          </a:xfrm>
          <a:prstGeom prst="rect">
            <a:avLst/>
          </a:prstGeom>
          <a:solidFill>
            <a:srgbClr val="F7F7F7"/>
          </a:solidFill>
        </p:spPr>
        <p:txBody>
          <a:bodyPr wrap="square" rtlCol="0">
            <a:spAutoFit/>
          </a:bodyPr>
          <a:lstStyle/>
          <a:p>
            <a:r>
              <a:rPr lang="en-IN" b="1" dirty="0">
                <a:solidFill>
                  <a:srgbClr val="00B0F0"/>
                </a:solidFill>
              </a:rPr>
              <a:t>UNDERSTANDING SEASONALITY</a:t>
            </a:r>
          </a:p>
          <a:p>
            <a:pPr marL="285750" indent="-285750">
              <a:buFont typeface="Arial" panose="020B0604020202020204" pitchFamily="34" charset="0"/>
              <a:buChar char="•"/>
            </a:pPr>
            <a:r>
              <a:rPr lang="en-IN" sz="1600" dirty="0"/>
              <a:t>July &amp; August are the biggest months in sales &amp; profit value followed by Dec &amp; May</a:t>
            </a:r>
          </a:p>
          <a:p>
            <a:pPr marL="742950" lvl="1" indent="-285750">
              <a:buFontTx/>
              <a:buChar char="-"/>
            </a:pPr>
            <a:r>
              <a:rPr lang="en-IN" sz="1600" dirty="0"/>
              <a:t>Similar trend observed in both Sales &amp; Profit</a:t>
            </a:r>
          </a:p>
          <a:p>
            <a:pPr marL="742950" lvl="1" indent="-285750">
              <a:buFontTx/>
              <a:buChar char="-"/>
            </a:pPr>
            <a:r>
              <a:rPr lang="en-IN" sz="1600" dirty="0"/>
              <a:t>All product’s reflected similar seasonality </a:t>
            </a:r>
          </a:p>
          <a:p>
            <a:pPr marL="742950" lvl="1" indent="-285750">
              <a:buFontTx/>
              <a:buChar char="-"/>
            </a:pPr>
            <a:r>
              <a:rPr lang="en-IN" sz="1600" dirty="0"/>
              <a:t>Different trend in “Outlet sales” with lower sales in June &amp; highest    </a:t>
            </a:r>
          </a:p>
        </p:txBody>
      </p:sp>
      <p:grpSp>
        <p:nvGrpSpPr>
          <p:cNvPr id="34" name="Group 33">
            <a:extLst>
              <a:ext uri="{FF2B5EF4-FFF2-40B4-BE49-F238E27FC236}">
                <a16:creationId xmlns:a16="http://schemas.microsoft.com/office/drawing/2014/main" id="{86C23846-0A24-A499-A16C-FA3CECD83478}"/>
              </a:ext>
            </a:extLst>
          </p:cNvPr>
          <p:cNvGrpSpPr/>
          <p:nvPr/>
        </p:nvGrpSpPr>
        <p:grpSpPr>
          <a:xfrm>
            <a:off x="459188" y="1240200"/>
            <a:ext cx="6282855" cy="3533707"/>
            <a:chOff x="111759" y="3078939"/>
            <a:chExt cx="6282855" cy="3533707"/>
          </a:xfrm>
        </p:grpSpPr>
        <p:grpSp>
          <p:nvGrpSpPr>
            <p:cNvPr id="31" name="Group 30">
              <a:extLst>
                <a:ext uri="{FF2B5EF4-FFF2-40B4-BE49-F238E27FC236}">
                  <a16:creationId xmlns:a16="http://schemas.microsoft.com/office/drawing/2014/main" id="{BBC24AFD-2D52-D28F-2FE8-CD0F82774628}"/>
                </a:ext>
              </a:extLst>
            </p:cNvPr>
            <p:cNvGrpSpPr/>
            <p:nvPr/>
          </p:nvGrpSpPr>
          <p:grpSpPr>
            <a:xfrm>
              <a:off x="111759" y="3078939"/>
              <a:ext cx="6282855" cy="3533707"/>
              <a:chOff x="111759" y="3078939"/>
              <a:chExt cx="6282855" cy="3533707"/>
            </a:xfrm>
          </p:grpSpPr>
          <p:pic>
            <p:nvPicPr>
              <p:cNvPr id="4" name="Picture 3">
                <a:extLst>
                  <a:ext uri="{FF2B5EF4-FFF2-40B4-BE49-F238E27FC236}">
                    <a16:creationId xmlns:a16="http://schemas.microsoft.com/office/drawing/2014/main" id="{569BBCB9-D163-8B85-72AE-556BA37C5F89}"/>
                  </a:ext>
                </a:extLst>
              </p:cNvPr>
              <p:cNvPicPr>
                <a:picLocks noChangeAspect="1"/>
              </p:cNvPicPr>
              <p:nvPr/>
            </p:nvPicPr>
            <p:blipFill rotWithShape="1">
              <a:blip r:embed="rId9"/>
              <a:srcRect t="9741" r="17917" b="6225"/>
              <a:stretch/>
            </p:blipFill>
            <p:spPr>
              <a:xfrm>
                <a:off x="111759" y="3078939"/>
                <a:ext cx="6282855" cy="3533707"/>
              </a:xfrm>
              <a:prstGeom prst="rect">
                <a:avLst/>
              </a:prstGeom>
            </p:spPr>
          </p:pic>
          <p:sp>
            <p:nvSpPr>
              <p:cNvPr id="9" name="Rectangle 8">
                <a:extLst>
                  <a:ext uri="{FF2B5EF4-FFF2-40B4-BE49-F238E27FC236}">
                    <a16:creationId xmlns:a16="http://schemas.microsoft.com/office/drawing/2014/main" id="{AEFBF98C-0B9A-E120-A1E4-3ED31F291185}"/>
                  </a:ext>
                </a:extLst>
              </p:cNvPr>
              <p:cNvSpPr/>
              <p:nvPr/>
            </p:nvSpPr>
            <p:spPr>
              <a:xfrm>
                <a:off x="3253186" y="3200400"/>
                <a:ext cx="942894" cy="3230660"/>
              </a:xfrm>
              <a:prstGeom prst="rect">
                <a:avLst/>
              </a:prstGeom>
              <a:noFill/>
              <a:ln w="28575">
                <a:solidFill>
                  <a:srgbClr val="DC4D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168BA5D1-CF35-E141-7539-96DAFB8C6190}"/>
                  </a:ext>
                </a:extLst>
              </p:cNvPr>
              <p:cNvSpPr/>
              <p:nvPr/>
            </p:nvSpPr>
            <p:spPr>
              <a:xfrm>
                <a:off x="5486400" y="3144943"/>
                <a:ext cx="425718" cy="3467703"/>
              </a:xfrm>
              <a:prstGeom prst="rect">
                <a:avLst/>
              </a:prstGeom>
              <a:noFill/>
              <a:ln w="28575">
                <a:solidFill>
                  <a:srgbClr val="DC4D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ectangle 15">
                <a:extLst>
                  <a:ext uri="{FF2B5EF4-FFF2-40B4-BE49-F238E27FC236}">
                    <a16:creationId xmlns:a16="http://schemas.microsoft.com/office/drawing/2014/main" id="{33DA354D-38B8-2B87-DC19-FBC725B1BB8C}"/>
                  </a:ext>
                </a:extLst>
              </p:cNvPr>
              <p:cNvSpPr/>
              <p:nvPr/>
            </p:nvSpPr>
            <p:spPr>
              <a:xfrm>
                <a:off x="2438399" y="3200400"/>
                <a:ext cx="406401" cy="3230660"/>
              </a:xfrm>
              <a:prstGeom prst="rect">
                <a:avLst/>
              </a:prstGeom>
              <a:noFill/>
              <a:ln w="28575">
                <a:solidFill>
                  <a:srgbClr val="DC4D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33" name="Picture 32">
              <a:extLst>
                <a:ext uri="{FF2B5EF4-FFF2-40B4-BE49-F238E27FC236}">
                  <a16:creationId xmlns:a16="http://schemas.microsoft.com/office/drawing/2014/main" id="{82BE9BF3-A153-F710-A5D9-131B0936718C}"/>
                </a:ext>
              </a:extLst>
            </p:cNvPr>
            <p:cNvPicPr>
              <a:picLocks noChangeAspect="1"/>
            </p:cNvPicPr>
            <p:nvPr/>
          </p:nvPicPr>
          <p:blipFill rotWithShape="1">
            <a:blip r:embed="rId10"/>
            <a:srcRect t="33131" r="25182"/>
            <a:stretch/>
          </p:blipFill>
          <p:spPr>
            <a:xfrm>
              <a:off x="914267" y="3310278"/>
              <a:ext cx="1015981" cy="389159"/>
            </a:xfrm>
            <a:prstGeom prst="rect">
              <a:avLst/>
            </a:prstGeom>
          </p:spPr>
        </p:pic>
      </p:grpSp>
      <p:grpSp>
        <p:nvGrpSpPr>
          <p:cNvPr id="39" name="Group 38">
            <a:extLst>
              <a:ext uri="{FF2B5EF4-FFF2-40B4-BE49-F238E27FC236}">
                <a16:creationId xmlns:a16="http://schemas.microsoft.com/office/drawing/2014/main" id="{7D946DDA-9E32-1E38-D5FB-0266C326BD58}"/>
              </a:ext>
            </a:extLst>
          </p:cNvPr>
          <p:cNvGrpSpPr/>
          <p:nvPr/>
        </p:nvGrpSpPr>
        <p:grpSpPr>
          <a:xfrm>
            <a:off x="7242516" y="102049"/>
            <a:ext cx="4316765" cy="3305778"/>
            <a:chOff x="7196502" y="31616"/>
            <a:chExt cx="4556419" cy="3305780"/>
          </a:xfrm>
        </p:grpSpPr>
        <p:pic>
          <p:nvPicPr>
            <p:cNvPr id="36" name="Picture 35">
              <a:extLst>
                <a:ext uri="{FF2B5EF4-FFF2-40B4-BE49-F238E27FC236}">
                  <a16:creationId xmlns:a16="http://schemas.microsoft.com/office/drawing/2014/main" id="{6F8E70F1-CDF2-D743-81C3-C45F96FD2215}"/>
                </a:ext>
              </a:extLst>
            </p:cNvPr>
            <p:cNvPicPr>
              <a:picLocks noChangeAspect="1"/>
            </p:cNvPicPr>
            <p:nvPr/>
          </p:nvPicPr>
          <p:blipFill rotWithShape="1">
            <a:blip r:embed="rId11"/>
            <a:srcRect t="5729"/>
            <a:stretch/>
          </p:blipFill>
          <p:spPr>
            <a:xfrm>
              <a:off x="7196502" y="31616"/>
              <a:ext cx="4556419" cy="3305780"/>
            </a:xfrm>
            <a:prstGeom prst="rect">
              <a:avLst/>
            </a:prstGeom>
          </p:spPr>
        </p:pic>
        <p:pic>
          <p:nvPicPr>
            <p:cNvPr id="38" name="Picture 37">
              <a:extLst>
                <a:ext uri="{FF2B5EF4-FFF2-40B4-BE49-F238E27FC236}">
                  <a16:creationId xmlns:a16="http://schemas.microsoft.com/office/drawing/2014/main" id="{36E52968-B875-716C-CE5C-1F7AD7A11716}"/>
                </a:ext>
              </a:extLst>
            </p:cNvPr>
            <p:cNvPicPr>
              <a:picLocks noChangeAspect="1"/>
            </p:cNvPicPr>
            <p:nvPr/>
          </p:nvPicPr>
          <p:blipFill rotWithShape="1">
            <a:blip r:embed="rId12"/>
            <a:srcRect t="25152" r="45937"/>
            <a:stretch/>
          </p:blipFill>
          <p:spPr>
            <a:xfrm>
              <a:off x="10825805" y="204239"/>
              <a:ext cx="859992" cy="680361"/>
            </a:xfrm>
            <a:prstGeom prst="rect">
              <a:avLst/>
            </a:prstGeom>
          </p:spPr>
        </p:pic>
      </p:grpSp>
      <p:sp>
        <p:nvSpPr>
          <p:cNvPr id="40" name="Rectangle 39">
            <a:extLst>
              <a:ext uri="{FF2B5EF4-FFF2-40B4-BE49-F238E27FC236}">
                <a16:creationId xmlns:a16="http://schemas.microsoft.com/office/drawing/2014/main" id="{C00597D2-034C-70CB-9F5F-DBC820340187}"/>
              </a:ext>
            </a:extLst>
          </p:cNvPr>
          <p:cNvSpPr/>
          <p:nvPr/>
        </p:nvSpPr>
        <p:spPr>
          <a:xfrm>
            <a:off x="7225746" y="102049"/>
            <a:ext cx="4821445" cy="6709782"/>
          </a:xfrm>
          <a:prstGeom prst="rect">
            <a:avLst/>
          </a:prstGeom>
          <a:no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Rectangle 40">
            <a:extLst>
              <a:ext uri="{FF2B5EF4-FFF2-40B4-BE49-F238E27FC236}">
                <a16:creationId xmlns:a16="http://schemas.microsoft.com/office/drawing/2014/main" id="{F5A4AD6F-35BE-C0B6-8D46-A66D3E8D2CFB}"/>
              </a:ext>
            </a:extLst>
          </p:cNvPr>
          <p:cNvSpPr/>
          <p:nvPr/>
        </p:nvSpPr>
        <p:spPr>
          <a:xfrm>
            <a:off x="459188" y="1164224"/>
            <a:ext cx="6528681" cy="3732647"/>
          </a:xfrm>
          <a:prstGeom prst="rect">
            <a:avLst/>
          </a:prstGeom>
          <a:no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795212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9F1A3-759F-4DAF-BB11-CCF966185F4A}"/>
              </a:ext>
            </a:extLst>
          </p:cNvPr>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5" name="Object 14" hidden="1">
                        <a:extLst>
                          <a:ext uri="{FF2B5EF4-FFF2-40B4-BE49-F238E27FC236}">
                            <a16:creationId xmlns:a16="http://schemas.microsoft.com/office/drawing/2014/main" id="{EC09F1A3-759F-4DAF-BB11-CCF966185F4A}"/>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542B52-395D-44F2-B432-F769FC2834A7}"/>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D8469D94-9C48-43CF-AAE1-DBF0D2BF4F69}"/>
              </a:ext>
            </a:extLst>
          </p:cNvPr>
          <p:cNvSpPr>
            <a:spLocks noGrp="1"/>
          </p:cNvSpPr>
          <p:nvPr>
            <p:ph type="title"/>
          </p:nvPr>
        </p:nvSpPr>
        <p:spPr/>
        <p:txBody>
          <a:bodyPr vert="horz"/>
          <a:lstStyle/>
          <a:p>
            <a:r>
              <a:rPr lang="en-US" dirty="0">
                <a:latin typeface="Arial" panose="020B0604020202020204" pitchFamily="34" charset="0"/>
                <a:sym typeface="EYInterstate Light" panose="02000506000000020004" pitchFamily="2" charset="0"/>
              </a:rPr>
              <a:t>Bivariate Analysis (TBA)</a:t>
            </a:r>
          </a:p>
        </p:txBody>
      </p:sp>
      <p:sp>
        <p:nvSpPr>
          <p:cNvPr id="14" name="Title 25">
            <a:extLst>
              <a:ext uri="{FF2B5EF4-FFF2-40B4-BE49-F238E27FC236}">
                <a16:creationId xmlns:a16="http://schemas.microsoft.com/office/drawing/2014/main" id="{66122E33-DFEB-43FE-B1AC-1E9BCFF28CCF}"/>
              </a:ext>
            </a:extLst>
          </p:cNvPr>
          <p:cNvSpPr txBox="1">
            <a:spLocks/>
          </p:cNvSpPr>
          <p:nvPr/>
        </p:nvSpPr>
        <p:spPr>
          <a:xfrm>
            <a:off x="506203" y="7583"/>
            <a:ext cx="9962744"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US" sz="2800" b="1" dirty="0">
                <a:solidFill>
                  <a:schemeClr val="tx1"/>
                </a:solidFill>
                <a:latin typeface="Arial" panose="020B0604020202020204" pitchFamily="34" charset="0"/>
              </a:rPr>
              <a:t>Exploratory Data Analysis - </a:t>
            </a:r>
            <a:r>
              <a:rPr lang="en-IN" sz="2000" b="1" i="0" u="none" strike="noStrike" dirty="0">
                <a:solidFill>
                  <a:srgbClr val="0070C0"/>
                </a:solidFill>
                <a:effectLst/>
                <a:latin typeface="Arial" panose="020B0604020202020204" pitchFamily="34" charset="0"/>
              </a:rPr>
              <a:t>Bivariate</a:t>
            </a:r>
            <a:endParaRPr lang="en-US" sz="2800" b="1" dirty="0">
              <a:solidFill>
                <a:srgbClr val="0070C0"/>
              </a:solidFill>
              <a:latin typeface="Arial" panose="020B0604020202020204" pitchFamily="34" charset="0"/>
            </a:endParaRPr>
          </a:p>
        </p:txBody>
      </p:sp>
      <p:grpSp>
        <p:nvGrpSpPr>
          <p:cNvPr id="12" name="Group 11">
            <a:extLst>
              <a:ext uri="{FF2B5EF4-FFF2-40B4-BE49-F238E27FC236}">
                <a16:creationId xmlns:a16="http://schemas.microsoft.com/office/drawing/2014/main" id="{5DB2EA6B-FA1E-B840-FC0B-0CA9C7E24682}"/>
              </a:ext>
            </a:extLst>
          </p:cNvPr>
          <p:cNvGrpSpPr/>
          <p:nvPr/>
        </p:nvGrpSpPr>
        <p:grpSpPr>
          <a:xfrm>
            <a:off x="6708828" y="94594"/>
            <a:ext cx="5242608" cy="3428118"/>
            <a:chOff x="199723" y="958556"/>
            <a:chExt cx="5012357" cy="3156919"/>
          </a:xfrm>
        </p:grpSpPr>
        <p:pic>
          <p:nvPicPr>
            <p:cNvPr id="7" name="Picture 6">
              <a:extLst>
                <a:ext uri="{FF2B5EF4-FFF2-40B4-BE49-F238E27FC236}">
                  <a16:creationId xmlns:a16="http://schemas.microsoft.com/office/drawing/2014/main" id="{10DF4DFA-41E0-8BF5-BF23-C00CCC6E948B}"/>
                </a:ext>
              </a:extLst>
            </p:cNvPr>
            <p:cNvPicPr>
              <a:picLocks noChangeAspect="1"/>
            </p:cNvPicPr>
            <p:nvPr/>
          </p:nvPicPr>
          <p:blipFill rotWithShape="1">
            <a:blip r:embed="rId7"/>
            <a:srcRect t="8356" r="24606" b="8483"/>
            <a:stretch/>
          </p:blipFill>
          <p:spPr>
            <a:xfrm>
              <a:off x="199723" y="958556"/>
              <a:ext cx="5012357" cy="3156919"/>
            </a:xfrm>
            <a:prstGeom prst="rect">
              <a:avLst/>
            </a:prstGeom>
          </p:spPr>
        </p:pic>
        <p:pic>
          <p:nvPicPr>
            <p:cNvPr id="9" name="Picture 8">
              <a:extLst>
                <a:ext uri="{FF2B5EF4-FFF2-40B4-BE49-F238E27FC236}">
                  <a16:creationId xmlns:a16="http://schemas.microsoft.com/office/drawing/2014/main" id="{C8C2A750-CB32-56D0-CCB3-1BDE5656DB2B}"/>
                </a:ext>
              </a:extLst>
            </p:cNvPr>
            <p:cNvPicPr>
              <a:picLocks noChangeAspect="1"/>
            </p:cNvPicPr>
            <p:nvPr/>
          </p:nvPicPr>
          <p:blipFill rotWithShape="1">
            <a:blip r:embed="rId7"/>
            <a:srcRect l="77690" t="13475" r="-614" b="62398"/>
            <a:stretch/>
          </p:blipFill>
          <p:spPr>
            <a:xfrm>
              <a:off x="3498893" y="1301129"/>
              <a:ext cx="1376680" cy="827282"/>
            </a:xfrm>
            <a:prstGeom prst="rect">
              <a:avLst/>
            </a:prstGeom>
          </p:spPr>
        </p:pic>
      </p:grpSp>
      <p:grpSp>
        <p:nvGrpSpPr>
          <p:cNvPr id="22" name="Group 21">
            <a:extLst>
              <a:ext uri="{FF2B5EF4-FFF2-40B4-BE49-F238E27FC236}">
                <a16:creationId xmlns:a16="http://schemas.microsoft.com/office/drawing/2014/main" id="{5D9D1972-4981-2000-8D25-6ACA4E7E286D}"/>
              </a:ext>
            </a:extLst>
          </p:cNvPr>
          <p:cNvGrpSpPr/>
          <p:nvPr/>
        </p:nvGrpSpPr>
        <p:grpSpPr>
          <a:xfrm>
            <a:off x="6729848" y="3794238"/>
            <a:ext cx="5381010" cy="2969172"/>
            <a:chOff x="6792908" y="3684598"/>
            <a:chExt cx="5296929" cy="2879202"/>
          </a:xfrm>
        </p:grpSpPr>
        <p:pic>
          <p:nvPicPr>
            <p:cNvPr id="16" name="Picture 15">
              <a:extLst>
                <a:ext uri="{FF2B5EF4-FFF2-40B4-BE49-F238E27FC236}">
                  <a16:creationId xmlns:a16="http://schemas.microsoft.com/office/drawing/2014/main" id="{A534C10F-9086-967E-F1D9-2A234C7B9BEE}"/>
                </a:ext>
              </a:extLst>
            </p:cNvPr>
            <p:cNvPicPr>
              <a:picLocks noChangeAspect="1"/>
            </p:cNvPicPr>
            <p:nvPr/>
          </p:nvPicPr>
          <p:blipFill rotWithShape="1">
            <a:blip r:embed="rId8"/>
            <a:srcRect t="13538" r="16411" b="7071"/>
            <a:stretch/>
          </p:blipFill>
          <p:spPr>
            <a:xfrm>
              <a:off x="6792908" y="3684598"/>
              <a:ext cx="5296929" cy="2879202"/>
            </a:xfrm>
            <a:prstGeom prst="rect">
              <a:avLst/>
            </a:prstGeom>
          </p:spPr>
        </p:pic>
        <p:pic>
          <p:nvPicPr>
            <p:cNvPr id="18" name="Picture 17">
              <a:extLst>
                <a:ext uri="{FF2B5EF4-FFF2-40B4-BE49-F238E27FC236}">
                  <a16:creationId xmlns:a16="http://schemas.microsoft.com/office/drawing/2014/main" id="{3864CD08-6484-8174-382D-5D5F74599104}"/>
                </a:ext>
              </a:extLst>
            </p:cNvPr>
            <p:cNvPicPr>
              <a:picLocks noChangeAspect="1"/>
            </p:cNvPicPr>
            <p:nvPr/>
          </p:nvPicPr>
          <p:blipFill rotWithShape="1">
            <a:blip r:embed="rId8"/>
            <a:srcRect l="83910" t="6804" r="5883" b="73640"/>
            <a:stretch/>
          </p:blipFill>
          <p:spPr>
            <a:xfrm>
              <a:off x="10593755" y="3695108"/>
              <a:ext cx="790137" cy="866382"/>
            </a:xfrm>
            <a:prstGeom prst="rect">
              <a:avLst/>
            </a:prstGeom>
          </p:spPr>
        </p:pic>
      </p:grpSp>
      <p:pic>
        <p:nvPicPr>
          <p:cNvPr id="23" name="Picture 22">
            <a:extLst>
              <a:ext uri="{FF2B5EF4-FFF2-40B4-BE49-F238E27FC236}">
                <a16:creationId xmlns:a16="http://schemas.microsoft.com/office/drawing/2014/main" id="{CDDDAF45-6101-2BB7-3C62-CC0542C817B9}"/>
              </a:ext>
            </a:extLst>
          </p:cNvPr>
          <p:cNvPicPr>
            <a:picLocks noChangeAspect="1"/>
          </p:cNvPicPr>
          <p:nvPr/>
        </p:nvPicPr>
        <p:blipFill rotWithShape="1">
          <a:blip r:embed="rId9"/>
          <a:srcRect l="31081" t="3688" r="21463" b="2430"/>
          <a:stretch/>
        </p:blipFill>
        <p:spPr>
          <a:xfrm>
            <a:off x="3961164" y="915771"/>
            <a:ext cx="2395699" cy="2848704"/>
          </a:xfrm>
          <a:prstGeom prst="rect">
            <a:avLst/>
          </a:prstGeom>
        </p:spPr>
      </p:pic>
      <p:pic>
        <p:nvPicPr>
          <p:cNvPr id="26" name="Picture 25">
            <a:extLst>
              <a:ext uri="{FF2B5EF4-FFF2-40B4-BE49-F238E27FC236}">
                <a16:creationId xmlns:a16="http://schemas.microsoft.com/office/drawing/2014/main" id="{74EE997F-D793-8314-F17A-DCDCC333DBBE}"/>
              </a:ext>
            </a:extLst>
          </p:cNvPr>
          <p:cNvPicPr>
            <a:picLocks noChangeAspect="1"/>
          </p:cNvPicPr>
          <p:nvPr/>
        </p:nvPicPr>
        <p:blipFill rotWithShape="1">
          <a:blip r:embed="rId10"/>
          <a:srcRect t="6803" r="30849" b="10498"/>
          <a:stretch/>
        </p:blipFill>
        <p:spPr>
          <a:xfrm>
            <a:off x="144263" y="799542"/>
            <a:ext cx="3157580" cy="3005534"/>
          </a:xfrm>
          <a:prstGeom prst="rect">
            <a:avLst/>
          </a:prstGeom>
        </p:spPr>
      </p:pic>
      <p:sp>
        <p:nvSpPr>
          <p:cNvPr id="28" name="Rectangle 27">
            <a:extLst>
              <a:ext uri="{FF2B5EF4-FFF2-40B4-BE49-F238E27FC236}">
                <a16:creationId xmlns:a16="http://schemas.microsoft.com/office/drawing/2014/main" id="{FADA38AD-B58E-2247-1A39-39B7E19088D6}"/>
              </a:ext>
            </a:extLst>
          </p:cNvPr>
          <p:cNvSpPr/>
          <p:nvPr/>
        </p:nvSpPr>
        <p:spPr>
          <a:xfrm>
            <a:off x="144263" y="844651"/>
            <a:ext cx="6459737" cy="3087269"/>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0" name="Straight Connector 29">
            <a:extLst>
              <a:ext uri="{FF2B5EF4-FFF2-40B4-BE49-F238E27FC236}">
                <a16:creationId xmlns:a16="http://schemas.microsoft.com/office/drawing/2014/main" id="{50A51C88-91BA-FA55-8E4A-E150F997905D}"/>
              </a:ext>
            </a:extLst>
          </p:cNvPr>
          <p:cNvCxnSpPr>
            <a:cxnSpLocks/>
          </p:cNvCxnSpPr>
          <p:nvPr/>
        </p:nvCxnSpPr>
        <p:spPr>
          <a:xfrm>
            <a:off x="3760212" y="844651"/>
            <a:ext cx="0" cy="3087269"/>
          </a:xfrm>
          <a:prstGeom prst="line">
            <a:avLst/>
          </a:prstGeom>
          <a:ln>
            <a:solidFill>
              <a:srgbClr val="EAEDF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4BD4B84-B2B4-2AA6-C7EB-5BD4803348F8}"/>
              </a:ext>
            </a:extLst>
          </p:cNvPr>
          <p:cNvCxnSpPr/>
          <p:nvPr/>
        </p:nvCxnSpPr>
        <p:spPr>
          <a:xfrm>
            <a:off x="6604000" y="94594"/>
            <a:ext cx="0" cy="666881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80B949F-172B-51AA-768D-D8E172082E69}"/>
              </a:ext>
            </a:extLst>
          </p:cNvPr>
          <p:cNvSpPr/>
          <p:nvPr/>
        </p:nvSpPr>
        <p:spPr>
          <a:xfrm>
            <a:off x="144263" y="4310418"/>
            <a:ext cx="6333889" cy="245299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4" name="TextBox 33">
            <a:extLst>
              <a:ext uri="{FF2B5EF4-FFF2-40B4-BE49-F238E27FC236}">
                <a16:creationId xmlns:a16="http://schemas.microsoft.com/office/drawing/2014/main" id="{0E9116F9-47CA-0735-FB36-718AB443B8AE}"/>
              </a:ext>
            </a:extLst>
          </p:cNvPr>
          <p:cNvSpPr txBox="1"/>
          <p:nvPr/>
        </p:nvSpPr>
        <p:spPr>
          <a:xfrm>
            <a:off x="274320" y="4450080"/>
            <a:ext cx="6082543" cy="2092881"/>
          </a:xfrm>
          <a:prstGeom prst="rect">
            <a:avLst/>
          </a:prstGeom>
          <a:noFill/>
        </p:spPr>
        <p:txBody>
          <a:bodyPr wrap="square" rtlCol="0">
            <a:spAutoFit/>
          </a:bodyPr>
          <a:lstStyle/>
          <a:p>
            <a:r>
              <a:rPr lang="en-IN" b="1" dirty="0">
                <a:solidFill>
                  <a:srgbClr val="00B0F0"/>
                </a:solidFill>
              </a:rPr>
              <a:t>UNDERSTANDING GEOGRAPHY BEHAVIOUR</a:t>
            </a:r>
            <a:endParaRPr lang="en-IN" dirty="0"/>
          </a:p>
          <a:p>
            <a:pPr marL="285750" indent="-285750">
              <a:buFont typeface="Arial" panose="020B0604020202020204" pitchFamily="34" charset="0"/>
              <a:buChar char="•"/>
            </a:pPr>
            <a:r>
              <a:rPr lang="en-IN" sz="1600" dirty="0"/>
              <a:t>Men’s street footwear &amp; women’s apparel are key sales &amp; profit drivers </a:t>
            </a:r>
          </a:p>
          <a:p>
            <a:pPr marL="285750" indent="-285750">
              <a:buFont typeface="Arial" panose="020B0604020202020204" pitchFamily="34" charset="0"/>
              <a:buChar char="•"/>
            </a:pPr>
            <a:r>
              <a:rPr lang="en-IN" sz="1600" dirty="0"/>
              <a:t>Channel mix is good with highest contr. “In-store”</a:t>
            </a:r>
          </a:p>
          <a:p>
            <a:pPr marL="285750" indent="-285750">
              <a:buFont typeface="Arial" panose="020B0604020202020204" pitchFamily="34" charset="0"/>
              <a:buChar char="•"/>
            </a:pPr>
            <a:r>
              <a:rPr lang="en-IN" sz="1600" dirty="0"/>
              <a:t>Product mix similar across geographies</a:t>
            </a:r>
          </a:p>
          <a:p>
            <a:pPr marL="742950" lvl="1" indent="-285750">
              <a:buFont typeface="Arial" panose="020B0604020202020204" pitchFamily="34" charset="0"/>
              <a:buChar char="•"/>
            </a:pPr>
            <a:r>
              <a:rPr lang="en-IN" sz="1600" dirty="0"/>
              <a:t>North east - higher In-store contr.</a:t>
            </a:r>
          </a:p>
          <a:p>
            <a:pPr marL="742950" lvl="1" indent="-285750">
              <a:buFont typeface="Arial" panose="020B0604020202020204" pitchFamily="34" charset="0"/>
              <a:buChar char="•"/>
            </a:pPr>
            <a:r>
              <a:rPr lang="en-IN" sz="1600" dirty="0"/>
              <a:t>South east - higher mix of Online</a:t>
            </a:r>
          </a:p>
          <a:p>
            <a:pPr marL="742950" lvl="1" indent="-285750">
              <a:buFont typeface="Arial" panose="020B0604020202020204" pitchFamily="34" charset="0"/>
              <a:buChar char="•"/>
            </a:pPr>
            <a:r>
              <a:rPr lang="en-IN" sz="1600" dirty="0"/>
              <a:t>South - Outlet contr. higher </a:t>
            </a:r>
          </a:p>
        </p:txBody>
      </p:sp>
    </p:spTree>
    <p:extLst>
      <p:ext uri="{BB962C8B-B14F-4D97-AF65-F5344CB8AC3E}">
        <p14:creationId xmlns:p14="http://schemas.microsoft.com/office/powerpoint/2010/main" val="1710670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a:xfrm>
            <a:off x="561764" y="148184"/>
            <a:ext cx="11204369" cy="876494"/>
          </a:xfrm>
        </p:spPr>
        <p:txBody>
          <a:bodyPr vert="horz" lIns="91440" tIns="45720" rIns="91440" bIns="45720" rtlCol="0" anchor="ctr">
            <a:normAutofit/>
          </a:bodyPr>
          <a:lstStyle/>
          <a:p>
            <a:r>
              <a:rPr lang="en-US" sz="2800" b="1" dirty="0">
                <a:solidFill>
                  <a:schemeClr val="tx1"/>
                </a:solidFill>
                <a:latin typeface="Arial" panose="020B0604020202020204" pitchFamily="34" charset="0"/>
              </a:rPr>
              <a:t>Exploratory Data Analysis -</a:t>
            </a:r>
            <a:r>
              <a:rPr lang="en-US" sz="2400" b="1" dirty="0">
                <a:solidFill>
                  <a:srgbClr val="0070C0"/>
                </a:solidFill>
                <a:latin typeface="Arial" panose="020B0604020202020204" pitchFamily="34" charset="0"/>
              </a:rPr>
              <a:t> </a:t>
            </a:r>
            <a:r>
              <a:rPr lang="en-US" sz="2000" b="1" dirty="0">
                <a:solidFill>
                  <a:srgbClr val="0070C0"/>
                </a:solidFill>
                <a:latin typeface="Arial" panose="020B0604020202020204" pitchFamily="34" charset="0"/>
              </a:rPr>
              <a:t>Bi-variate</a:t>
            </a:r>
            <a:endParaRPr lang="en-US" sz="2800" b="1" dirty="0">
              <a:solidFill>
                <a:srgbClr val="0070C0"/>
              </a:solidFill>
              <a:latin typeface="Arial" panose="020B0604020202020204" pitchFamily="34" charset="0"/>
            </a:endParaRPr>
          </a:p>
        </p:txBody>
      </p:sp>
      <p:grpSp>
        <p:nvGrpSpPr>
          <p:cNvPr id="29" name="Group 28">
            <a:extLst>
              <a:ext uri="{FF2B5EF4-FFF2-40B4-BE49-F238E27FC236}">
                <a16:creationId xmlns:a16="http://schemas.microsoft.com/office/drawing/2014/main" id="{A3BAD8FD-2710-4C59-A219-023570EB08D4}"/>
              </a:ext>
            </a:extLst>
          </p:cNvPr>
          <p:cNvGrpSpPr/>
          <p:nvPr/>
        </p:nvGrpSpPr>
        <p:grpSpPr>
          <a:xfrm>
            <a:off x="2267340" y="4151118"/>
            <a:ext cx="7723722" cy="186014"/>
            <a:chOff x="279526" y="4428379"/>
            <a:chExt cx="3685787" cy="216612"/>
          </a:xfrm>
        </p:grpSpPr>
        <p:grpSp>
          <p:nvGrpSpPr>
            <p:cNvPr id="28" name="Group 27">
              <a:extLst>
                <a:ext uri="{FF2B5EF4-FFF2-40B4-BE49-F238E27FC236}">
                  <a16:creationId xmlns:a16="http://schemas.microsoft.com/office/drawing/2014/main" id="{B1DA68CA-65C4-495E-B797-F2EE4C3067EF}"/>
                </a:ext>
              </a:extLst>
            </p:cNvPr>
            <p:cNvGrpSpPr/>
            <p:nvPr/>
          </p:nvGrpSpPr>
          <p:grpSpPr>
            <a:xfrm>
              <a:off x="279526" y="4428379"/>
              <a:ext cx="1007902" cy="216612"/>
              <a:chOff x="279526" y="4428379"/>
              <a:chExt cx="1007902" cy="216612"/>
            </a:xfrm>
          </p:grpSpPr>
          <p:sp>
            <p:nvSpPr>
              <p:cNvPr id="11" name="Rectangle 10">
                <a:extLst>
                  <a:ext uri="{FF2B5EF4-FFF2-40B4-BE49-F238E27FC236}">
                    <a16:creationId xmlns:a16="http://schemas.microsoft.com/office/drawing/2014/main" id="{9930E866-4E4C-4394-98D6-F92C0EF873DE}"/>
                  </a:ext>
                </a:extLst>
              </p:cNvPr>
              <p:cNvSpPr/>
              <p:nvPr/>
            </p:nvSpPr>
            <p:spPr>
              <a:xfrm>
                <a:off x="279526" y="4428379"/>
                <a:ext cx="280116" cy="216612"/>
              </a:xfrm>
              <a:prstGeom prst="rect">
                <a:avLst/>
              </a:prstGeom>
              <a:solidFill>
                <a:srgbClr val="DC4D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346318A-13FA-42CE-BE2A-6E2087A357E9}"/>
                  </a:ext>
                </a:extLst>
              </p:cNvPr>
              <p:cNvSpPr/>
              <p:nvPr/>
            </p:nvSpPr>
            <p:spPr>
              <a:xfrm>
                <a:off x="596372" y="4428991"/>
                <a:ext cx="691056" cy="2160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latin typeface="Arial" panose="020B0604020202020204" pitchFamily="34" charset="0"/>
                    <a:cs typeface="Arial" panose="020B0604020202020204" pitchFamily="34" charset="0"/>
                  </a:rPr>
                  <a:t>Outlet</a:t>
                </a:r>
              </a:p>
            </p:txBody>
          </p:sp>
        </p:grpSp>
        <p:grpSp>
          <p:nvGrpSpPr>
            <p:cNvPr id="27" name="Group 26">
              <a:extLst>
                <a:ext uri="{FF2B5EF4-FFF2-40B4-BE49-F238E27FC236}">
                  <a16:creationId xmlns:a16="http://schemas.microsoft.com/office/drawing/2014/main" id="{A246D95A-2953-40D4-9BD2-C15192ED102C}"/>
                </a:ext>
              </a:extLst>
            </p:cNvPr>
            <p:cNvGrpSpPr/>
            <p:nvPr/>
          </p:nvGrpSpPr>
          <p:grpSpPr>
            <a:xfrm>
              <a:off x="2966742" y="4428379"/>
              <a:ext cx="998571" cy="216612"/>
              <a:chOff x="279526" y="4780351"/>
              <a:chExt cx="998571" cy="216612"/>
            </a:xfrm>
          </p:grpSpPr>
          <p:sp>
            <p:nvSpPr>
              <p:cNvPr id="13" name="Rectangle 12">
                <a:extLst>
                  <a:ext uri="{FF2B5EF4-FFF2-40B4-BE49-F238E27FC236}">
                    <a16:creationId xmlns:a16="http://schemas.microsoft.com/office/drawing/2014/main" id="{67030CCA-BE98-48C6-913E-554CC8F19E1E}"/>
                  </a:ext>
                </a:extLst>
              </p:cNvPr>
              <p:cNvSpPr/>
              <p:nvPr/>
            </p:nvSpPr>
            <p:spPr>
              <a:xfrm>
                <a:off x="279526" y="4780351"/>
                <a:ext cx="280116" cy="216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F7A75E14-9523-4DBD-ABDF-A0ADDDE52F36}"/>
                  </a:ext>
                </a:extLst>
              </p:cNvPr>
              <p:cNvSpPr/>
              <p:nvPr/>
            </p:nvSpPr>
            <p:spPr>
              <a:xfrm>
                <a:off x="587041" y="4780963"/>
                <a:ext cx="691056" cy="2160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latin typeface="Arial" panose="020B0604020202020204" pitchFamily="34" charset="0"/>
                    <a:cs typeface="Arial" panose="020B0604020202020204" pitchFamily="34" charset="0"/>
                  </a:rPr>
                  <a:t>Online</a:t>
                </a:r>
              </a:p>
            </p:txBody>
          </p:sp>
        </p:grpSp>
        <p:grpSp>
          <p:nvGrpSpPr>
            <p:cNvPr id="8" name="Group 7">
              <a:extLst>
                <a:ext uri="{FF2B5EF4-FFF2-40B4-BE49-F238E27FC236}">
                  <a16:creationId xmlns:a16="http://schemas.microsoft.com/office/drawing/2014/main" id="{28ED5C11-DA00-4F78-84C6-B2A2F233564E}"/>
                </a:ext>
              </a:extLst>
            </p:cNvPr>
            <p:cNvGrpSpPr/>
            <p:nvPr/>
          </p:nvGrpSpPr>
          <p:grpSpPr>
            <a:xfrm>
              <a:off x="1660753" y="4428379"/>
              <a:ext cx="998571" cy="216612"/>
              <a:chOff x="279526" y="5132323"/>
              <a:chExt cx="998571" cy="216612"/>
            </a:xfrm>
          </p:grpSpPr>
          <p:sp>
            <p:nvSpPr>
              <p:cNvPr id="14" name="Rectangle 13">
                <a:extLst>
                  <a:ext uri="{FF2B5EF4-FFF2-40B4-BE49-F238E27FC236}">
                    <a16:creationId xmlns:a16="http://schemas.microsoft.com/office/drawing/2014/main" id="{FC4C89CC-29DC-4323-82B3-FBFAD0391E59}"/>
                  </a:ext>
                </a:extLst>
              </p:cNvPr>
              <p:cNvSpPr/>
              <p:nvPr/>
            </p:nvSpPr>
            <p:spPr>
              <a:xfrm>
                <a:off x="279526" y="5132323"/>
                <a:ext cx="280116" cy="21661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00" b="1"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F73682A7-1B37-4CBC-929C-1E388FC9B67C}"/>
                  </a:ext>
                </a:extLst>
              </p:cNvPr>
              <p:cNvSpPr/>
              <p:nvPr/>
            </p:nvSpPr>
            <p:spPr>
              <a:xfrm>
                <a:off x="587041" y="5132935"/>
                <a:ext cx="691056" cy="2160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latin typeface="Arial" panose="020B0604020202020204" pitchFamily="34" charset="0"/>
                    <a:cs typeface="Arial" panose="020B0604020202020204" pitchFamily="34" charset="0"/>
                  </a:rPr>
                  <a:t>In-store</a:t>
                </a:r>
              </a:p>
            </p:txBody>
          </p:sp>
        </p:grpSp>
      </p:grpSp>
      <p:grpSp>
        <p:nvGrpSpPr>
          <p:cNvPr id="7" name="Group 6">
            <a:extLst>
              <a:ext uri="{FF2B5EF4-FFF2-40B4-BE49-F238E27FC236}">
                <a16:creationId xmlns:a16="http://schemas.microsoft.com/office/drawing/2014/main" id="{B2178722-1C16-4EC3-8E84-5FE26BD853D6}"/>
              </a:ext>
            </a:extLst>
          </p:cNvPr>
          <p:cNvGrpSpPr/>
          <p:nvPr/>
        </p:nvGrpSpPr>
        <p:grpSpPr>
          <a:xfrm>
            <a:off x="580426" y="1202178"/>
            <a:ext cx="5634470" cy="2707350"/>
            <a:chOff x="680642" y="1007705"/>
            <a:chExt cx="6224011" cy="3153748"/>
          </a:xfrm>
        </p:grpSpPr>
        <p:pic>
          <p:nvPicPr>
            <p:cNvPr id="5" name="Picture 4" descr="Chart, bar chart&#10;&#10;Description automatically generated">
              <a:extLst>
                <a:ext uri="{FF2B5EF4-FFF2-40B4-BE49-F238E27FC236}">
                  <a16:creationId xmlns:a16="http://schemas.microsoft.com/office/drawing/2014/main" id="{20518B21-66EA-4844-BEEC-69DE2657B66C}"/>
                </a:ext>
              </a:extLst>
            </p:cNvPr>
            <p:cNvPicPr>
              <a:picLocks noChangeAspect="1"/>
            </p:cNvPicPr>
            <p:nvPr/>
          </p:nvPicPr>
          <p:blipFill rotWithShape="1">
            <a:blip r:embed="rId2">
              <a:extLst>
                <a:ext uri="{28A0092B-C50C-407E-A947-70E740481C1C}">
                  <a14:useLocalDpi xmlns:a14="http://schemas.microsoft.com/office/drawing/2010/main" val="0"/>
                </a:ext>
              </a:extLst>
            </a:blip>
            <a:srcRect l="1402" r="14140" b="5546"/>
            <a:stretch/>
          </p:blipFill>
          <p:spPr>
            <a:xfrm>
              <a:off x="810348" y="1007705"/>
              <a:ext cx="6094305" cy="3153748"/>
            </a:xfrm>
            <a:prstGeom prst="rect">
              <a:avLst/>
            </a:prstGeom>
            <a:ln>
              <a:noFill/>
            </a:ln>
          </p:spPr>
        </p:pic>
        <p:sp>
          <p:nvSpPr>
            <p:cNvPr id="23" name="Rectangle 22">
              <a:extLst>
                <a:ext uri="{FF2B5EF4-FFF2-40B4-BE49-F238E27FC236}">
                  <a16:creationId xmlns:a16="http://schemas.microsoft.com/office/drawing/2014/main" id="{725AACC9-28DF-4B5D-A6C5-42DB13311B0F}"/>
                </a:ext>
              </a:extLst>
            </p:cNvPr>
            <p:cNvSpPr/>
            <p:nvPr/>
          </p:nvSpPr>
          <p:spPr>
            <a:xfrm>
              <a:off x="680642" y="1067799"/>
              <a:ext cx="691056"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b="1" dirty="0">
                <a:solidFill>
                  <a:schemeClr val="tx1"/>
                </a:solidFill>
                <a:latin typeface="Arial" panose="020B0604020202020204" pitchFamily="34" charset="0"/>
                <a:cs typeface="Arial" panose="020B0604020202020204" pitchFamily="34" charset="0"/>
              </a:endParaRPr>
            </a:p>
          </p:txBody>
        </p:sp>
      </p:grpSp>
      <p:sp>
        <p:nvSpPr>
          <p:cNvPr id="30" name="Rectangle 29">
            <a:extLst>
              <a:ext uri="{FF2B5EF4-FFF2-40B4-BE49-F238E27FC236}">
                <a16:creationId xmlns:a16="http://schemas.microsoft.com/office/drawing/2014/main" id="{494F5430-7960-4EAE-A7CB-713F5C253713}"/>
              </a:ext>
            </a:extLst>
          </p:cNvPr>
          <p:cNvSpPr/>
          <p:nvPr/>
        </p:nvSpPr>
        <p:spPr>
          <a:xfrm>
            <a:off x="561765" y="879639"/>
            <a:ext cx="5515573" cy="3225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bg1"/>
                </a:solidFill>
                <a:latin typeface="Arial" panose="020B0604020202020204" pitchFamily="34" charset="0"/>
                <a:cs typeface="Arial" panose="020B0604020202020204" pitchFamily="34" charset="0"/>
              </a:rPr>
              <a:t>Trend in Year-wise Sales (in $ Million) by Retailer and Channel</a:t>
            </a:r>
          </a:p>
        </p:txBody>
      </p:sp>
      <p:sp>
        <p:nvSpPr>
          <p:cNvPr id="31" name="Rectangle 30">
            <a:extLst>
              <a:ext uri="{FF2B5EF4-FFF2-40B4-BE49-F238E27FC236}">
                <a16:creationId xmlns:a16="http://schemas.microsoft.com/office/drawing/2014/main" id="{3F88BB63-85B1-4F2E-A65B-14DC32A745AC}"/>
              </a:ext>
            </a:extLst>
          </p:cNvPr>
          <p:cNvSpPr/>
          <p:nvPr/>
        </p:nvSpPr>
        <p:spPr>
          <a:xfrm>
            <a:off x="552237" y="879639"/>
            <a:ext cx="11460385" cy="3720353"/>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b="1" dirty="0">
              <a:solidFill>
                <a:schemeClr val="bg1"/>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F5CB6FB4-A98A-4D2D-A4E6-27C63688478B}"/>
              </a:ext>
            </a:extLst>
          </p:cNvPr>
          <p:cNvGrpSpPr/>
          <p:nvPr/>
        </p:nvGrpSpPr>
        <p:grpSpPr>
          <a:xfrm>
            <a:off x="6360506" y="1101183"/>
            <a:ext cx="5654212" cy="2909339"/>
            <a:chOff x="6740354" y="1000188"/>
            <a:chExt cx="5867461" cy="3038496"/>
          </a:xfrm>
        </p:grpSpPr>
        <p:pic>
          <p:nvPicPr>
            <p:cNvPr id="33" name="Picture 32" descr="Chart, bar chart&#10;&#10;Description automatically generated">
              <a:extLst>
                <a:ext uri="{FF2B5EF4-FFF2-40B4-BE49-F238E27FC236}">
                  <a16:creationId xmlns:a16="http://schemas.microsoft.com/office/drawing/2014/main" id="{2F9EB505-4ED2-4B23-897B-535917036D22}"/>
                </a:ext>
              </a:extLst>
            </p:cNvPr>
            <p:cNvPicPr>
              <a:picLocks noChangeAspect="1"/>
            </p:cNvPicPr>
            <p:nvPr/>
          </p:nvPicPr>
          <p:blipFill rotWithShape="1">
            <a:blip r:embed="rId3">
              <a:extLst>
                <a:ext uri="{28A0092B-C50C-407E-A947-70E740481C1C}">
                  <a14:useLocalDpi xmlns:a14="http://schemas.microsoft.com/office/drawing/2010/main" val="0"/>
                </a:ext>
              </a:extLst>
            </a:blip>
            <a:srcRect l="1454" r="13980" b="4811"/>
            <a:stretch/>
          </p:blipFill>
          <p:spPr>
            <a:xfrm>
              <a:off x="6774088" y="1000188"/>
              <a:ext cx="5833727" cy="3038496"/>
            </a:xfrm>
            <a:prstGeom prst="rect">
              <a:avLst/>
            </a:prstGeom>
          </p:spPr>
        </p:pic>
        <p:sp>
          <p:nvSpPr>
            <p:cNvPr id="34" name="Rectangle 33">
              <a:extLst>
                <a:ext uri="{FF2B5EF4-FFF2-40B4-BE49-F238E27FC236}">
                  <a16:creationId xmlns:a16="http://schemas.microsoft.com/office/drawing/2014/main" id="{57C5D985-2FC5-4470-B82E-52E1403F4F97}"/>
                </a:ext>
              </a:extLst>
            </p:cNvPr>
            <p:cNvSpPr/>
            <p:nvPr/>
          </p:nvSpPr>
          <p:spPr>
            <a:xfrm>
              <a:off x="6740354" y="1105040"/>
              <a:ext cx="683941" cy="194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b="1" dirty="0">
                <a:solidFill>
                  <a:schemeClr val="tx1"/>
                </a:solidFill>
                <a:latin typeface="Arial" panose="020B0604020202020204" pitchFamily="34" charset="0"/>
                <a:cs typeface="Arial" panose="020B0604020202020204" pitchFamily="34" charset="0"/>
              </a:endParaRPr>
            </a:p>
          </p:txBody>
        </p:sp>
      </p:grpSp>
      <p:sp>
        <p:nvSpPr>
          <p:cNvPr id="36" name="Rectangle 35">
            <a:extLst>
              <a:ext uri="{FF2B5EF4-FFF2-40B4-BE49-F238E27FC236}">
                <a16:creationId xmlns:a16="http://schemas.microsoft.com/office/drawing/2014/main" id="{4910692A-8643-46E3-ACFE-1ED24A41CF76}"/>
              </a:ext>
            </a:extLst>
          </p:cNvPr>
          <p:cNvSpPr/>
          <p:nvPr/>
        </p:nvSpPr>
        <p:spPr>
          <a:xfrm>
            <a:off x="6497048" y="879639"/>
            <a:ext cx="5515574" cy="3225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chemeClr val="bg1"/>
                </a:solidFill>
                <a:latin typeface="Arial" panose="020B0604020202020204" pitchFamily="34" charset="0"/>
                <a:cs typeface="Arial" panose="020B0604020202020204" pitchFamily="34" charset="0"/>
              </a:rPr>
              <a:t>Trend in Year-wise Sales (in $ Million) by Region and Channel</a:t>
            </a:r>
          </a:p>
        </p:txBody>
      </p:sp>
      <p:cxnSp>
        <p:nvCxnSpPr>
          <p:cNvPr id="37" name="Straight Connector 36">
            <a:extLst>
              <a:ext uri="{FF2B5EF4-FFF2-40B4-BE49-F238E27FC236}">
                <a16:creationId xmlns:a16="http://schemas.microsoft.com/office/drawing/2014/main" id="{221D9DDC-AA8F-4FFF-B0EC-3F479C8F9597}"/>
              </a:ext>
            </a:extLst>
          </p:cNvPr>
          <p:cNvCxnSpPr>
            <a:cxnSpLocks/>
          </p:cNvCxnSpPr>
          <p:nvPr/>
        </p:nvCxnSpPr>
        <p:spPr>
          <a:xfrm>
            <a:off x="6290001" y="888970"/>
            <a:ext cx="0" cy="2824614"/>
          </a:xfrm>
          <a:prstGeom prst="line">
            <a:avLst/>
          </a:prstGeom>
          <a:ln w="38100">
            <a:solidFill>
              <a:schemeClr val="tx1">
                <a:lumMod val="50000"/>
                <a:lumOff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0" name="Text Placeholder 26">
            <a:extLst>
              <a:ext uri="{FF2B5EF4-FFF2-40B4-BE49-F238E27FC236}">
                <a16:creationId xmlns:a16="http://schemas.microsoft.com/office/drawing/2014/main" id="{211D0FF9-A0DA-47ED-8105-ABF766F29C5D}"/>
              </a:ext>
            </a:extLst>
          </p:cNvPr>
          <p:cNvSpPr txBox="1"/>
          <p:nvPr/>
        </p:nvSpPr>
        <p:spPr>
          <a:xfrm>
            <a:off x="580425" y="4651804"/>
            <a:ext cx="5647819" cy="168986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4"/>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buFont typeface="Arial" panose="020B0604020202020204" pitchFamily="34" charset="0"/>
              <a:buChar char="•"/>
            </a:pPr>
            <a:r>
              <a:rPr lang="en-IN" sz="1200" b="1" dirty="0">
                <a:solidFill>
                  <a:schemeClr val="tx1"/>
                </a:solidFill>
                <a:latin typeface="Arial" panose="020B0604020202020204" pitchFamily="34" charset="0"/>
                <a:cs typeface="Arial" panose="020B0604020202020204" pitchFamily="34" charset="0"/>
              </a:rPr>
              <a:t>New channel by retailers: </a:t>
            </a:r>
            <a:r>
              <a:rPr lang="en-US" sz="1200" dirty="0">
                <a:solidFill>
                  <a:schemeClr val="tx1"/>
                </a:solidFill>
                <a:latin typeface="Arial" panose="020B0604020202020204" pitchFamily="34" charset="0"/>
                <a:cs typeface="Arial" panose="020B0604020202020204" pitchFamily="34" charset="0"/>
              </a:rPr>
              <a:t>Walmart, Kohl's and Amazon initiated in-store operations in 2021</a:t>
            </a:r>
            <a:r>
              <a:rPr lang="en-IN" altLang="en-US" sz="1200" dirty="0">
                <a:solidFill>
                  <a:schemeClr val="tx1"/>
                </a:solidFill>
                <a:latin typeface="Arial" panose="020B0604020202020204" pitchFamily="34" charset="0"/>
                <a:cs typeface="Arial" panose="020B0604020202020204" pitchFamily="34" charset="0"/>
              </a:rPr>
              <a:t>. </a:t>
            </a:r>
          </a:p>
          <a:p>
            <a:pPr>
              <a:spcBef>
                <a:spcPts val="300"/>
              </a:spcBef>
              <a:spcAft>
                <a:spcPts val="300"/>
              </a:spcAft>
              <a:buFont typeface="Arial" panose="020B0604020202020204" pitchFamily="34" charset="0"/>
              <a:buChar char="•"/>
            </a:pPr>
            <a:r>
              <a:rPr lang="en-IN" sz="1200" b="1" dirty="0">
                <a:solidFill>
                  <a:schemeClr val="tx1"/>
                </a:solidFill>
                <a:latin typeface="Arial" panose="020B0604020202020204" pitchFamily="34" charset="0"/>
                <a:cs typeface="Arial" panose="020B0604020202020204" pitchFamily="34" charset="0"/>
              </a:rPr>
              <a:t>New Market Player: Amazon </a:t>
            </a:r>
            <a:r>
              <a:rPr lang="en-IN" sz="1200" dirty="0">
                <a:solidFill>
                  <a:schemeClr val="tx1"/>
                </a:solidFill>
                <a:latin typeface="Arial" panose="020B0604020202020204" pitchFamily="34" charset="0"/>
                <a:cs typeface="Arial" panose="020B0604020202020204" pitchFamily="34" charset="0"/>
              </a:rPr>
              <a:t>entered market in 2021</a:t>
            </a:r>
          </a:p>
          <a:p>
            <a:pPr>
              <a:spcBef>
                <a:spcPts val="300"/>
              </a:spcBef>
              <a:spcAft>
                <a:spcPts val="300"/>
              </a:spcAft>
              <a:buFont typeface="Arial" panose="020B0604020202020204" pitchFamily="34" charset="0"/>
              <a:buChar char="•"/>
            </a:pPr>
            <a:r>
              <a:rPr lang="en-IN" sz="1200" b="1" dirty="0">
                <a:solidFill>
                  <a:schemeClr val="tx1"/>
                </a:solidFill>
                <a:latin typeface="Arial" panose="020B0604020202020204" pitchFamily="34" charset="0"/>
                <a:cs typeface="Arial" panose="020B0604020202020204" pitchFamily="34" charset="0"/>
              </a:rPr>
              <a:t>Overall Growth Rate: </a:t>
            </a:r>
            <a:r>
              <a:rPr lang="en-IN" sz="1200" dirty="0">
                <a:solidFill>
                  <a:schemeClr val="tx1"/>
                </a:solidFill>
                <a:latin typeface="Arial" panose="020B0604020202020204" pitchFamily="34" charset="0"/>
                <a:cs typeface="Arial" panose="020B0604020202020204" pitchFamily="34" charset="0"/>
              </a:rPr>
              <a:t>Foot Locker, Sports Direct and </a:t>
            </a:r>
            <a:r>
              <a:rPr lang="en-US" sz="1200" dirty="0">
                <a:solidFill>
                  <a:schemeClr val="tx1"/>
                </a:solidFill>
                <a:latin typeface="Arial" panose="020B0604020202020204" pitchFamily="34" charset="0"/>
                <a:cs typeface="Arial" panose="020B0604020202020204" pitchFamily="34" charset="0"/>
              </a:rPr>
              <a:t>Kohl's</a:t>
            </a:r>
            <a:r>
              <a:rPr lang="en-IN" sz="1200" dirty="0">
                <a:solidFill>
                  <a:schemeClr val="tx1"/>
                </a:solidFill>
                <a:latin typeface="Arial" panose="020B0604020202020204" pitchFamily="34" charset="0"/>
                <a:cs typeface="Arial" panose="020B0604020202020204" pitchFamily="34" charset="0"/>
              </a:rPr>
              <a:t> were the fastest growing retailers, Walmart grew the slowest, over 2020-21</a:t>
            </a:r>
            <a:endParaRPr lang="en-US" sz="1200" dirty="0">
              <a:solidFill>
                <a:schemeClr val="tx1"/>
              </a:solidFill>
              <a:latin typeface="Arial" panose="020B0604020202020204" pitchFamily="34" charset="0"/>
              <a:cs typeface="Arial" panose="020B0604020202020204" pitchFamily="34" charset="0"/>
            </a:endParaRPr>
          </a:p>
          <a:p>
            <a:pPr>
              <a:spcBef>
                <a:spcPts val="300"/>
              </a:spcBef>
              <a:spcAft>
                <a:spcPts val="300"/>
              </a:spcAft>
              <a:buFont typeface="Arial" panose="020B0604020202020204" pitchFamily="34" charset="0"/>
              <a:buChar char="•"/>
            </a:pPr>
            <a:r>
              <a:rPr lang="en-US" sz="1200" b="1" dirty="0">
                <a:solidFill>
                  <a:schemeClr val="tx1"/>
                </a:solidFill>
                <a:latin typeface="Arial" panose="020B0604020202020204" pitchFamily="34" charset="0"/>
                <a:cs typeface="Arial" panose="020B0604020202020204" pitchFamily="34" charset="0"/>
              </a:rPr>
              <a:t>Instore Sales: </a:t>
            </a:r>
            <a:r>
              <a:rPr lang="en-US" sz="1200" dirty="0">
                <a:solidFill>
                  <a:schemeClr val="tx1"/>
                </a:solidFill>
                <a:latin typeface="Arial" panose="020B0604020202020204" pitchFamily="34" charset="0"/>
                <a:cs typeface="Arial" panose="020B0604020202020204" pitchFamily="34" charset="0"/>
              </a:rPr>
              <a:t>Sports Direct and Footlocker, grew the fastest over 2021 </a:t>
            </a:r>
          </a:p>
          <a:p>
            <a:pPr>
              <a:spcBef>
                <a:spcPts val="300"/>
              </a:spcBef>
              <a:spcAft>
                <a:spcPts val="300"/>
              </a:spcAft>
              <a:buFont typeface="Arial" panose="020B0604020202020204" pitchFamily="34" charset="0"/>
              <a:buChar char="•"/>
            </a:pPr>
            <a:r>
              <a:rPr lang="en-US" altLang="en-US" sz="1200" b="1" dirty="0">
                <a:solidFill>
                  <a:schemeClr val="tx1"/>
                </a:solidFill>
                <a:latin typeface="Arial" panose="020B0604020202020204" pitchFamily="34" charset="0"/>
                <a:cs typeface="Arial" panose="020B0604020202020204" pitchFamily="34" charset="0"/>
              </a:rPr>
              <a:t>Online Sales: </a:t>
            </a:r>
            <a:r>
              <a:rPr lang="en-US" altLang="en-US" sz="1200" dirty="0">
                <a:solidFill>
                  <a:schemeClr val="tx1"/>
                </a:solidFill>
                <a:latin typeface="Arial" panose="020B0604020202020204" pitchFamily="34" charset="0"/>
                <a:cs typeface="Arial" panose="020B0604020202020204" pitchFamily="34" charset="0"/>
              </a:rPr>
              <a:t>All players boosted their online sales, led by </a:t>
            </a:r>
            <a:r>
              <a:rPr lang="en-US" sz="1200" dirty="0">
                <a:solidFill>
                  <a:schemeClr val="tx1"/>
                </a:solidFill>
                <a:latin typeface="Arial" panose="020B0604020202020204" pitchFamily="34" charset="0"/>
                <a:cs typeface="Arial" panose="020B0604020202020204" pitchFamily="34" charset="0"/>
              </a:rPr>
              <a:t>Kohl's</a:t>
            </a:r>
            <a:r>
              <a:rPr lang="en-US" altLang="en-US" sz="1200" dirty="0">
                <a:solidFill>
                  <a:schemeClr val="tx1"/>
                </a:solidFill>
                <a:latin typeface="Arial" panose="020B0604020202020204" pitchFamily="34" charset="0"/>
                <a:cs typeface="Arial" panose="020B0604020202020204" pitchFamily="34" charset="0"/>
              </a:rPr>
              <a:t>  </a:t>
            </a:r>
          </a:p>
          <a:p>
            <a:pPr>
              <a:spcBef>
                <a:spcPts val="300"/>
              </a:spcBef>
              <a:spcAft>
                <a:spcPts val="300"/>
              </a:spcAft>
              <a:buFont typeface="Arial" panose="020B0604020202020204" pitchFamily="34" charset="0"/>
              <a:buChar char="•"/>
            </a:pPr>
            <a:r>
              <a:rPr lang="en-IN" altLang="en-US" sz="1200" b="1" dirty="0">
                <a:solidFill>
                  <a:schemeClr val="tx1"/>
                </a:solidFill>
                <a:latin typeface="Arial" panose="020B0604020202020204" pitchFamily="34" charset="0"/>
                <a:cs typeface="Arial" panose="020B0604020202020204" pitchFamily="34" charset="0"/>
              </a:rPr>
              <a:t>Outlet sales: </a:t>
            </a:r>
            <a:r>
              <a:rPr lang="en-IN" altLang="en-US" sz="1200" dirty="0">
                <a:solidFill>
                  <a:schemeClr val="tx1"/>
                </a:solidFill>
                <a:latin typeface="Arial" panose="020B0604020202020204" pitchFamily="34" charset="0"/>
                <a:cs typeface="Arial" panose="020B0604020202020204" pitchFamily="34" charset="0"/>
              </a:rPr>
              <a:t>Walmart sale declined, and Sports direct grew fastest</a:t>
            </a:r>
          </a:p>
        </p:txBody>
      </p:sp>
      <p:sp>
        <p:nvSpPr>
          <p:cNvPr id="45" name="TextBox 44">
            <a:extLst>
              <a:ext uri="{FF2B5EF4-FFF2-40B4-BE49-F238E27FC236}">
                <a16:creationId xmlns:a16="http://schemas.microsoft.com/office/drawing/2014/main" id="{82F5ABB7-3045-49D7-A700-B8E3344550FC}"/>
              </a:ext>
            </a:extLst>
          </p:cNvPr>
          <p:cNvSpPr txBox="1"/>
          <p:nvPr/>
        </p:nvSpPr>
        <p:spPr>
          <a:xfrm>
            <a:off x="6530237" y="4760747"/>
            <a:ext cx="5182119" cy="1243417"/>
          </a:xfrm>
          <a:prstGeom prst="rect">
            <a:avLst/>
          </a:prstGeom>
          <a:noFill/>
        </p:spPr>
        <p:txBody>
          <a:bodyPr wrap="square">
            <a:spAutoFit/>
          </a:bodyPr>
          <a:lstStyle/>
          <a:p>
            <a:pPr marL="228600" indent="-228600">
              <a:lnSpc>
                <a:spcPct val="90000"/>
              </a:lnSpc>
              <a:spcBef>
                <a:spcPts val="300"/>
              </a:spcBef>
              <a:spcAft>
                <a:spcPts val="300"/>
              </a:spcAft>
              <a:buFont typeface="Arial" panose="020B0604020202020204" pitchFamily="34" charset="0"/>
              <a:buChar char="•"/>
            </a:pPr>
            <a:r>
              <a:rPr lang="en-US" sz="1200" b="1" dirty="0">
                <a:latin typeface="Arial" panose="020B0604020202020204" pitchFamily="34" charset="0"/>
                <a:cs typeface="Arial" panose="020B0604020202020204" pitchFamily="34" charset="0"/>
                <a:sym typeface="+mn-ea"/>
              </a:rPr>
              <a:t>Instore sales:</a:t>
            </a:r>
            <a:r>
              <a:rPr lang="en-US" sz="1200" dirty="0">
                <a:latin typeface="Arial" panose="020B0604020202020204" pitchFamily="34" charset="0"/>
                <a:cs typeface="Arial" panose="020B0604020202020204" pitchFamily="34" charset="0"/>
                <a:sym typeface="+mn-ea"/>
              </a:rPr>
              <a:t> </a:t>
            </a:r>
            <a:r>
              <a:rPr lang="en-US" sz="1200" b="1" dirty="0">
                <a:latin typeface="Arial" panose="020B0604020202020204" pitchFamily="34" charset="0"/>
                <a:cs typeface="Arial" panose="020B0604020202020204" pitchFamily="34" charset="0"/>
                <a:sym typeface="+mn-ea"/>
              </a:rPr>
              <a:t>Northeast and Midwest </a:t>
            </a:r>
            <a:r>
              <a:rPr lang="en-IN" altLang="en-US" sz="1200" dirty="0">
                <a:latin typeface="Arial" panose="020B0604020202020204" pitchFamily="34" charset="0"/>
                <a:cs typeface="Arial" panose="020B0604020202020204" pitchFamily="34" charset="0"/>
                <a:sym typeface="+mn-ea"/>
              </a:rPr>
              <a:t>gained the most &amp; Southeast was not growing much, West sale dropped.</a:t>
            </a:r>
          </a:p>
          <a:p>
            <a:pPr marL="228600" indent="-228600">
              <a:lnSpc>
                <a:spcPct val="90000"/>
              </a:lnSpc>
              <a:spcBef>
                <a:spcPts val="300"/>
              </a:spcBef>
              <a:spcAft>
                <a:spcPts val="300"/>
              </a:spcAft>
              <a:buFont typeface="Arial" panose="020B0604020202020204" pitchFamily="34" charset="0"/>
              <a:buChar char="•"/>
            </a:pPr>
            <a:r>
              <a:rPr lang="en-IN" altLang="en-US" sz="1200" b="1" dirty="0">
                <a:latin typeface="Arial" panose="020B0604020202020204" pitchFamily="34" charset="0"/>
                <a:cs typeface="Arial" panose="020B0604020202020204" pitchFamily="34" charset="0"/>
                <a:sym typeface="+mn-ea"/>
              </a:rPr>
              <a:t>Outlet Sales:</a:t>
            </a:r>
            <a:r>
              <a:rPr lang="en-IN" altLang="en-US" sz="1200" dirty="0">
                <a:latin typeface="Arial" panose="020B0604020202020204" pitchFamily="34" charset="0"/>
                <a:cs typeface="Arial" panose="020B0604020202020204" pitchFamily="34" charset="0"/>
                <a:sym typeface="+mn-ea"/>
              </a:rPr>
              <a:t> </a:t>
            </a:r>
            <a:r>
              <a:rPr lang="en-IN" altLang="en-US" sz="1200" b="1" dirty="0">
                <a:latin typeface="Arial" panose="020B0604020202020204" pitchFamily="34" charset="0"/>
                <a:cs typeface="Arial" panose="020B0604020202020204" pitchFamily="34" charset="0"/>
                <a:sym typeface="+mn-ea"/>
              </a:rPr>
              <a:t>Northeast sale dropped</a:t>
            </a:r>
            <a:r>
              <a:rPr lang="en-IN" altLang="en-US" sz="1200" dirty="0">
                <a:latin typeface="Arial" panose="020B0604020202020204" pitchFamily="34" charset="0"/>
                <a:cs typeface="Arial" panose="020B0604020202020204" pitchFamily="34" charset="0"/>
                <a:sym typeface="+mn-ea"/>
              </a:rPr>
              <a:t>, </a:t>
            </a:r>
            <a:r>
              <a:rPr lang="en-IN" altLang="en-US" sz="1200" b="1" dirty="0">
                <a:latin typeface="Arial" panose="020B0604020202020204" pitchFamily="34" charset="0"/>
                <a:cs typeface="Arial" panose="020B0604020202020204" pitchFamily="34" charset="0"/>
                <a:sym typeface="+mn-ea"/>
              </a:rPr>
              <a:t>Southeast </a:t>
            </a:r>
            <a:r>
              <a:rPr lang="en-IN" altLang="en-US" sz="1200" dirty="0">
                <a:latin typeface="Arial" panose="020B0604020202020204" pitchFamily="34" charset="0"/>
                <a:cs typeface="Arial" panose="020B0604020202020204" pitchFamily="34" charset="0"/>
                <a:sym typeface="+mn-ea"/>
              </a:rPr>
              <a:t>started and West and South gained the most.</a:t>
            </a:r>
          </a:p>
          <a:p>
            <a:pPr marL="228600" indent="-228600">
              <a:lnSpc>
                <a:spcPct val="90000"/>
              </a:lnSpc>
              <a:spcBef>
                <a:spcPts val="300"/>
              </a:spcBef>
              <a:spcAft>
                <a:spcPts val="300"/>
              </a:spcAft>
              <a:buFont typeface="Arial" panose="020B0604020202020204" pitchFamily="34" charset="0"/>
              <a:buChar char="•"/>
            </a:pPr>
            <a:r>
              <a:rPr lang="en-IN" altLang="en-US" sz="1200" b="1" dirty="0">
                <a:latin typeface="Arial" panose="020B0604020202020204" pitchFamily="34" charset="0"/>
                <a:cs typeface="Arial" panose="020B0604020202020204" pitchFamily="34" charset="0"/>
                <a:sym typeface="+mn-ea"/>
              </a:rPr>
              <a:t>Online sales: </a:t>
            </a:r>
            <a:r>
              <a:rPr lang="en-IN" altLang="en-US" sz="1200" dirty="0">
                <a:latin typeface="Arial" panose="020B0604020202020204" pitchFamily="34" charset="0"/>
                <a:cs typeface="Arial" panose="020B0604020202020204" pitchFamily="34" charset="0"/>
                <a:sym typeface="+mn-ea"/>
              </a:rPr>
              <a:t>Growth in all regions. Max gain by Southeast, South, West and Midwest</a:t>
            </a:r>
          </a:p>
        </p:txBody>
      </p:sp>
      <p:cxnSp>
        <p:nvCxnSpPr>
          <p:cNvPr id="46" name="Straight Connector 45">
            <a:extLst>
              <a:ext uri="{FF2B5EF4-FFF2-40B4-BE49-F238E27FC236}">
                <a16:creationId xmlns:a16="http://schemas.microsoft.com/office/drawing/2014/main" id="{31D1965F-1B3B-40DB-8153-B08BF445AE52}"/>
              </a:ext>
            </a:extLst>
          </p:cNvPr>
          <p:cNvCxnSpPr>
            <a:cxnSpLocks/>
          </p:cNvCxnSpPr>
          <p:nvPr/>
        </p:nvCxnSpPr>
        <p:spPr>
          <a:xfrm>
            <a:off x="6305691" y="4681578"/>
            <a:ext cx="0" cy="1707557"/>
          </a:xfrm>
          <a:prstGeom prst="line">
            <a:avLst/>
          </a:prstGeom>
          <a:ln w="38100">
            <a:solidFill>
              <a:schemeClr val="tx1">
                <a:lumMod val="50000"/>
                <a:lumOff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55AA7AB-F120-4047-B6BB-9972F17FBA30}"/>
              </a:ext>
            </a:extLst>
          </p:cNvPr>
          <p:cNvSpPr/>
          <p:nvPr/>
        </p:nvSpPr>
        <p:spPr>
          <a:xfrm>
            <a:off x="561764" y="4664946"/>
            <a:ext cx="5534225" cy="1724189"/>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b="1" dirty="0">
              <a:solidFill>
                <a:schemeClr val="bg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B515E2B3-4E27-478F-95EC-422A20929AD7}"/>
              </a:ext>
            </a:extLst>
          </p:cNvPr>
          <p:cNvSpPr/>
          <p:nvPr/>
        </p:nvSpPr>
        <p:spPr>
          <a:xfrm>
            <a:off x="6444155" y="4681578"/>
            <a:ext cx="5534225" cy="1724189"/>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82B0451C-4C65-437D-A533-A21F807B6265}"/>
              </a:ext>
            </a:extLst>
          </p:cNvPr>
          <p:cNvSpPr txBox="1"/>
          <p:nvPr/>
        </p:nvSpPr>
        <p:spPr>
          <a:xfrm rot="16200000">
            <a:off x="-466570" y="5374896"/>
            <a:ext cx="1753963" cy="307777"/>
          </a:xfrm>
          <a:prstGeom prst="rect">
            <a:avLst/>
          </a:prstGeom>
          <a:solidFill>
            <a:srgbClr val="00B0F0"/>
          </a:solidFill>
        </p:spPr>
        <p:txBody>
          <a:bodyPr wrap="square">
            <a:spAutoFit/>
          </a:bodyPr>
          <a:lstStyle/>
          <a:p>
            <a:pPr algn="ctr"/>
            <a:r>
              <a:rPr lang="en-IN" sz="1400" b="1" dirty="0">
                <a:solidFill>
                  <a:schemeClr val="bg1"/>
                </a:solidFill>
                <a:latin typeface="Arial" panose="020B0604020202020204" pitchFamily="34" charset="0"/>
                <a:cs typeface="Arial" panose="020B0604020202020204" pitchFamily="34" charset="0"/>
              </a:rPr>
              <a:t>Key Highlights</a:t>
            </a:r>
            <a:endParaRPr lang="en-IN"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99871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a:extLst>
              <a:ext uri="{FF2B5EF4-FFF2-40B4-BE49-F238E27FC236}">
                <a16:creationId xmlns:a16="http://schemas.microsoft.com/office/drawing/2014/main" id="{9E2AF08B-827D-4518-8BC0-C23CD14309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261" y="1485579"/>
            <a:ext cx="6101059" cy="4666884"/>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6">
            <a:extLst>
              <a:ext uri="{FF2B5EF4-FFF2-40B4-BE49-F238E27FC236}">
                <a16:creationId xmlns:a16="http://schemas.microsoft.com/office/drawing/2014/main" id="{48F190F9-E8CA-18A4-CFB8-B3FC857476E4}"/>
              </a:ext>
            </a:extLst>
          </p:cNvPr>
          <p:cNvSpPr txBox="1"/>
          <p:nvPr/>
        </p:nvSpPr>
        <p:spPr>
          <a:xfrm>
            <a:off x="6923453" y="2083882"/>
            <a:ext cx="4745286" cy="3391528"/>
          </a:xfrm>
          <a:prstGeom prst="rect">
            <a:avLst/>
          </a:prstGeom>
          <a:ln>
            <a:solidFill>
              <a:schemeClr val="bg2"/>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3"/>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4"/>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rtl="0" fontAlgn="base">
              <a:spcAft>
                <a:spcPts val="1200"/>
              </a:spcAft>
              <a:buFont typeface="Arial" panose="020B0604020202020204" pitchFamily="34" charset="0"/>
              <a:buChar char="•"/>
            </a:pPr>
            <a:r>
              <a:rPr lang="en-US" b="0" i="0" u="none" strike="noStrike" dirty="0">
                <a:solidFill>
                  <a:srgbClr val="262626"/>
                </a:solidFill>
                <a:effectLst/>
                <a:latin typeface="Arial" panose="020B0604020202020204" pitchFamily="34" charset="0"/>
                <a:cs typeface="Arial" panose="020B0604020202020204" pitchFamily="34" charset="0"/>
              </a:rPr>
              <a:t>Total Sales is strongly correlated with Operating Profit, units Sold and Price per unit</a:t>
            </a:r>
            <a:r>
              <a:rPr lang="en-US" b="0" i="0" dirty="0">
                <a:solidFill>
                  <a:srgbClr val="262626"/>
                </a:solidFill>
                <a:effectLst/>
                <a:latin typeface="Arial" panose="020B0604020202020204" pitchFamily="34" charset="0"/>
                <a:cs typeface="Arial" panose="020B0604020202020204" pitchFamily="34" charset="0"/>
              </a:rPr>
              <a:t>​</a:t>
            </a:r>
            <a:endParaRPr lang="en-US" dirty="0">
              <a:solidFill>
                <a:srgbClr val="262626"/>
              </a:solidFill>
              <a:latin typeface="Arial" panose="020B0604020202020204" pitchFamily="34" charset="0"/>
              <a:cs typeface="Arial" panose="020B0604020202020204" pitchFamily="34" charset="0"/>
            </a:endParaRPr>
          </a:p>
          <a:p>
            <a:pPr algn="just" rtl="0" fontAlgn="base">
              <a:spcAft>
                <a:spcPts val="1200"/>
              </a:spcAft>
              <a:buFont typeface="Arial" panose="020B0604020202020204" pitchFamily="34" charset="0"/>
              <a:buChar char="•"/>
            </a:pPr>
            <a:r>
              <a:rPr lang="en-US" b="0" i="0" u="none" strike="noStrike" dirty="0">
                <a:solidFill>
                  <a:srgbClr val="262626"/>
                </a:solidFill>
                <a:effectLst/>
                <a:latin typeface="Arial" panose="020B0604020202020204" pitchFamily="34" charset="0"/>
                <a:cs typeface="Arial" panose="020B0604020202020204" pitchFamily="34" charset="0"/>
              </a:rPr>
              <a:t>Negative correlation is evident between Operating margin with Price per unit, Units Sold, Total Sales and Operating Profit</a:t>
            </a:r>
            <a:r>
              <a:rPr lang="en-US" b="0" i="0" dirty="0">
                <a:solidFill>
                  <a:srgbClr val="262626"/>
                </a:solidFill>
                <a:effectLst/>
                <a:latin typeface="Arial" panose="020B0604020202020204" pitchFamily="34" charset="0"/>
                <a:cs typeface="Arial" panose="020B0604020202020204" pitchFamily="34" charset="0"/>
              </a:rPr>
              <a:t>​</a:t>
            </a:r>
          </a:p>
          <a:p>
            <a:pPr algn="just" fontAlgn="base">
              <a:spcAft>
                <a:spcPts val="1200"/>
              </a:spcAft>
              <a:buFont typeface="Arial" panose="020B0604020202020204" pitchFamily="34" charset="0"/>
              <a:buChar char="•"/>
            </a:pPr>
            <a:r>
              <a:rPr lang="en-US" sz="1600" b="0" i="0" u="none" strike="noStrike" dirty="0">
                <a:solidFill>
                  <a:srgbClr val="262626"/>
                </a:solidFill>
                <a:effectLst/>
                <a:latin typeface="Arial" panose="020B0604020202020204" pitchFamily="34" charset="0"/>
                <a:cs typeface="Arial" panose="020B0604020202020204" pitchFamily="34" charset="0"/>
              </a:rPr>
              <a:t>Price per unit is positively correlated with Operating Profit, total sales and Units Sold</a:t>
            </a:r>
            <a:r>
              <a:rPr lang="en-US" sz="1600" b="0" i="0" dirty="0">
                <a:solidFill>
                  <a:srgbClr val="262626"/>
                </a:solidFill>
                <a:effectLst/>
                <a:latin typeface="Arial" panose="020B0604020202020204" pitchFamily="34" charset="0"/>
                <a:cs typeface="Arial" panose="020B0604020202020204" pitchFamily="34" charset="0"/>
              </a:rPr>
              <a:t>​</a:t>
            </a:r>
            <a:endParaRPr lang="en-US" sz="1600" b="0" i="0" dirty="0">
              <a:solidFill>
                <a:srgbClr val="000000"/>
              </a:solidFill>
              <a:effectLst/>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7E00CBB6-21C8-EF42-72CF-68CFE13711E2}"/>
              </a:ext>
            </a:extLst>
          </p:cNvPr>
          <p:cNvSpPr txBox="1"/>
          <p:nvPr/>
        </p:nvSpPr>
        <p:spPr>
          <a:xfrm>
            <a:off x="6923453" y="1756728"/>
            <a:ext cx="2062102" cy="317823"/>
          </a:xfrm>
          <a:prstGeom prst="rect">
            <a:avLst/>
          </a:prstGeom>
          <a:solidFill>
            <a:srgbClr val="00B0F0"/>
          </a:solidFill>
        </p:spPr>
        <p:txBody>
          <a:bodyPr wrap="square">
            <a:spAutoFit/>
          </a:bodyPr>
          <a:lstStyle/>
          <a:p>
            <a:pPr algn="ctr"/>
            <a:r>
              <a:rPr lang="en-IN" sz="1400" b="1" dirty="0">
                <a:solidFill>
                  <a:schemeClr val="bg1"/>
                </a:solidFill>
                <a:latin typeface="Arial" panose="020B0604020202020204" pitchFamily="34" charset="0"/>
                <a:cs typeface="Arial" panose="020B0604020202020204" pitchFamily="34" charset="0"/>
              </a:rPr>
              <a:t>Key Highlights</a:t>
            </a:r>
            <a:endParaRPr lang="en-IN" b="1" dirty="0">
              <a:solidFill>
                <a:schemeClr val="bg1"/>
              </a:solidFill>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0A2E134E-9E80-A3BB-4141-C71B79FDCF06}"/>
              </a:ext>
            </a:extLst>
          </p:cNvPr>
          <p:cNvSpPr>
            <a:spLocks noGrp="1"/>
          </p:cNvSpPr>
          <p:nvPr>
            <p:ph type="title"/>
          </p:nvPr>
        </p:nvSpPr>
        <p:spPr/>
        <p:txBody>
          <a:bodyPr>
            <a:normAutofit/>
          </a:bodyPr>
          <a:lstStyle/>
          <a:p>
            <a:r>
              <a:rPr lang="en-IN" altLang="en-US" sz="2800" b="1" kern="1200" dirty="0">
                <a:solidFill>
                  <a:schemeClr val="tx1"/>
                </a:solidFill>
                <a:latin typeface="Arial" panose="020B0604020202020204" pitchFamily="34" charset="0"/>
                <a:cs typeface="Arial" panose="020B0604020202020204" pitchFamily="34" charset="0"/>
              </a:rPr>
              <a:t>Correlation Plot</a:t>
            </a:r>
            <a:endParaRPr lang="en-IN" sz="28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169ACB-2849-20E6-8ACA-D6E1CCD506F7}"/>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Summary of EDA</a:t>
            </a:r>
          </a:p>
        </p:txBody>
      </p:sp>
      <p:sp>
        <p:nvSpPr>
          <p:cNvPr id="10" name="TextBox 9">
            <a:extLst>
              <a:ext uri="{FF2B5EF4-FFF2-40B4-BE49-F238E27FC236}">
                <a16:creationId xmlns:a16="http://schemas.microsoft.com/office/drawing/2014/main" id="{1C04C887-255A-0091-EB03-7E4742F45DC2}"/>
              </a:ext>
            </a:extLst>
          </p:cNvPr>
          <p:cNvSpPr txBox="1"/>
          <p:nvPr/>
        </p:nvSpPr>
        <p:spPr>
          <a:xfrm>
            <a:off x="795079" y="1052623"/>
            <a:ext cx="10507330" cy="4661276"/>
          </a:xfrm>
          <a:prstGeom prst="rect">
            <a:avLst/>
          </a:prstGeom>
          <a:noFill/>
          <a:ln>
            <a:solidFill>
              <a:srgbClr val="EAEDF2"/>
            </a:solidFill>
          </a:ln>
        </p:spPr>
        <p:txBody>
          <a:bodyPr wrap="square" rtlCol="0">
            <a:spAutoFit/>
          </a:bodyPr>
          <a:lstStyle/>
          <a:p>
            <a:pPr marL="285750" indent="-285750">
              <a:lnSpc>
                <a:spcPct val="150000"/>
              </a:lnSpc>
              <a:buFont typeface="Wingdings" panose="05000000000000000000" pitchFamily="2" charset="2"/>
              <a:buChar char="§"/>
            </a:pPr>
            <a:r>
              <a:rPr lang="en-US" sz="2000" b="0" i="0" u="none" strike="noStrike" dirty="0">
                <a:solidFill>
                  <a:srgbClr val="000000"/>
                </a:solidFill>
                <a:effectLst/>
                <a:cs typeface="Arial" panose="020B0604020202020204" pitchFamily="34" charset="0"/>
              </a:rPr>
              <a:t>Most retailers scaled up the business in 2021 . Significant Year-On-Year sales growth. </a:t>
            </a:r>
          </a:p>
          <a:p>
            <a:pPr marL="285750" indent="-285750">
              <a:lnSpc>
                <a:spcPct val="150000"/>
              </a:lnSpc>
              <a:buFont typeface="Wingdings" panose="05000000000000000000" pitchFamily="2" charset="2"/>
              <a:buChar char="§"/>
            </a:pPr>
            <a:r>
              <a:rPr lang="en-US" sz="2000" b="0" i="0" u="none" strike="noStrike" dirty="0">
                <a:solidFill>
                  <a:srgbClr val="000000"/>
                </a:solidFill>
                <a:effectLst/>
                <a:cs typeface="Arial" panose="020B0604020202020204" pitchFamily="34" charset="0"/>
              </a:rPr>
              <a:t>Opening up online platform for sales gained a high influx of overall sales</a:t>
            </a:r>
          </a:p>
          <a:p>
            <a:pPr marL="285750" indent="-285750">
              <a:lnSpc>
                <a:spcPct val="150000"/>
              </a:lnSpc>
              <a:buFont typeface="Wingdings" panose="05000000000000000000" pitchFamily="2" charset="2"/>
              <a:buChar char="§"/>
            </a:pPr>
            <a:r>
              <a:rPr lang="en-US" sz="2000" b="0" i="0" dirty="0">
                <a:solidFill>
                  <a:srgbClr val="000000"/>
                </a:solidFill>
                <a:effectLst/>
                <a:cs typeface="Arial" panose="020B0604020202020204" pitchFamily="34" charset="0"/>
              </a:rPr>
              <a:t>​Similar seasonality across product categories &amp; channels with “Outlet sales” showin</a:t>
            </a:r>
            <a:r>
              <a:rPr lang="en-US" sz="2000" dirty="0">
                <a:solidFill>
                  <a:srgbClr val="000000"/>
                </a:solidFill>
                <a:cs typeface="Arial" panose="020B0604020202020204" pitchFamily="34" charset="0"/>
              </a:rPr>
              <a:t>g different behavior</a:t>
            </a:r>
          </a:p>
          <a:p>
            <a:pPr marL="285750" indent="-285750">
              <a:lnSpc>
                <a:spcPct val="150000"/>
              </a:lnSpc>
              <a:buFont typeface="Wingdings" panose="05000000000000000000" pitchFamily="2" charset="2"/>
              <a:buChar char="§"/>
            </a:pPr>
            <a:r>
              <a:rPr lang="en-IN" sz="2000" dirty="0"/>
              <a:t>Sales &amp; profit have very strong correlation</a:t>
            </a:r>
          </a:p>
          <a:p>
            <a:pPr marL="285750" indent="-285750">
              <a:lnSpc>
                <a:spcPct val="150000"/>
              </a:lnSpc>
              <a:buFont typeface="Wingdings" panose="05000000000000000000" pitchFamily="2" charset="2"/>
              <a:buChar char="§"/>
            </a:pPr>
            <a:r>
              <a:rPr lang="en-IN" sz="2000" dirty="0"/>
              <a:t>Highest ASP (Average Selling Price) in In-Store followed by Outlet &amp; Online </a:t>
            </a:r>
          </a:p>
          <a:p>
            <a:pPr marL="742950" lvl="1" indent="-285750">
              <a:lnSpc>
                <a:spcPct val="150000"/>
              </a:lnSpc>
              <a:buFontTx/>
              <a:buChar char="-"/>
            </a:pPr>
            <a:r>
              <a:rPr lang="en-IN" sz="2000" dirty="0"/>
              <a:t>Physical store driving premium categories</a:t>
            </a:r>
          </a:p>
          <a:p>
            <a:pPr marL="285750" indent="-285750">
              <a:lnSpc>
                <a:spcPct val="150000"/>
              </a:lnSpc>
              <a:buFont typeface="Wingdings" panose="05000000000000000000" pitchFamily="2" charset="2"/>
              <a:buChar char="§"/>
            </a:pPr>
            <a:r>
              <a:rPr lang="en-IN" sz="2000" dirty="0"/>
              <a:t> Similar sales mix between men (55%) &amp; women(45%) product categories </a:t>
            </a:r>
          </a:p>
          <a:p>
            <a:pPr marL="285750" indent="-285750">
              <a:lnSpc>
                <a:spcPct val="150000"/>
              </a:lnSpc>
              <a:buFont typeface="Wingdings" panose="05000000000000000000" pitchFamily="2" charset="2"/>
              <a:buChar char="§"/>
            </a:pPr>
            <a:r>
              <a:rPr lang="en-IN" sz="2000" dirty="0"/>
              <a:t>Basis correlation plot operating margin has negative relation with all other variables. Lower GM% generating more sales. </a:t>
            </a:r>
          </a:p>
        </p:txBody>
      </p:sp>
    </p:spTree>
    <p:extLst>
      <p:ext uri="{BB962C8B-B14F-4D97-AF65-F5344CB8AC3E}">
        <p14:creationId xmlns:p14="http://schemas.microsoft.com/office/powerpoint/2010/main" val="21464477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361498-68C3-4F20-A6D9-C846A70B6D2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74" y="3176"/>
            <a:ext cx="12188826" cy="6854824"/>
          </a:xfrm>
          <a:prstGeom prst="rect">
            <a:avLst/>
          </a:prstGeom>
        </p:spPr>
      </p:pic>
      <p:sp>
        <p:nvSpPr>
          <p:cNvPr id="6" name="Title 5">
            <a:extLst>
              <a:ext uri="{FF2B5EF4-FFF2-40B4-BE49-F238E27FC236}">
                <a16:creationId xmlns:a16="http://schemas.microsoft.com/office/drawing/2014/main" id="{DE09016C-ACD1-4DC4-B76C-75002A6935EA}"/>
              </a:ext>
            </a:extLst>
          </p:cNvPr>
          <p:cNvSpPr txBox="1">
            <a:spLocks/>
          </p:cNvSpPr>
          <p:nvPr/>
        </p:nvSpPr>
        <p:spPr>
          <a:xfrm>
            <a:off x="307027" y="1411036"/>
            <a:ext cx="4864641" cy="14721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marL="405079" lvl="1" algn="ctr" defTabSz="894091">
              <a:lnSpc>
                <a:spcPct val="114000"/>
              </a:lnSpc>
              <a:buClr>
                <a:srgbClr val="FFFFFF"/>
              </a:buClr>
              <a:buSzPct val="70000"/>
              <a:defRPr/>
            </a:pPr>
            <a:r>
              <a:rPr lang="en-IN" sz="3200" b="1" kern="0" dirty="0">
                <a:solidFill>
                  <a:srgbClr val="FFFFFF"/>
                </a:solidFill>
                <a:latin typeface="EYInterstate Light"/>
              </a:rPr>
              <a:t>Model Development </a:t>
            </a:r>
          </a:p>
          <a:p>
            <a:pPr marL="405079" lvl="1" algn="ctr" defTabSz="894091">
              <a:lnSpc>
                <a:spcPct val="114000"/>
              </a:lnSpc>
              <a:buClr>
                <a:srgbClr val="FFFFFF"/>
              </a:buClr>
              <a:buSzPct val="70000"/>
              <a:defRPr/>
            </a:pPr>
            <a:r>
              <a:rPr lang="en-IN" sz="3200" b="1" kern="0" dirty="0">
                <a:solidFill>
                  <a:srgbClr val="FFFFFF"/>
                </a:solidFill>
                <a:latin typeface="EYInterstate Light"/>
              </a:rPr>
              <a:t>- Clustering</a:t>
            </a:r>
          </a:p>
        </p:txBody>
      </p:sp>
      <p:sp>
        <p:nvSpPr>
          <p:cNvPr id="7" name="Rectangle 115">
            <a:extLst>
              <a:ext uri="{FF2B5EF4-FFF2-40B4-BE49-F238E27FC236}">
                <a16:creationId xmlns:a16="http://schemas.microsoft.com/office/drawing/2014/main" id="{EB10C61B-8E44-43F5-B86E-8E332EE8FB2C}"/>
              </a:ext>
            </a:extLst>
          </p:cNvPr>
          <p:cNvSpPr/>
          <p:nvPr/>
        </p:nvSpPr>
        <p:spPr>
          <a:xfrm>
            <a:off x="5171668" y="905649"/>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Rectangle 115">
            <a:extLst>
              <a:ext uri="{FF2B5EF4-FFF2-40B4-BE49-F238E27FC236}">
                <a16:creationId xmlns:a16="http://schemas.microsoft.com/office/drawing/2014/main" id="{D77BCBAB-234E-4568-B9DD-709F6DD364B5}"/>
              </a:ext>
            </a:extLst>
          </p:cNvPr>
          <p:cNvSpPr/>
          <p:nvPr/>
        </p:nvSpPr>
        <p:spPr>
          <a:xfrm>
            <a:off x="491343" y="905650"/>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5241046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19"/>
          <p:cNvSpPr txBox="1"/>
          <p:nvPr/>
        </p:nvSpPr>
        <p:spPr>
          <a:xfrm>
            <a:off x="655492" y="0"/>
            <a:ext cx="7527453" cy="1006929"/>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62626"/>
              </a:buClr>
              <a:buSzPts val="3636"/>
              <a:buFont typeface="Century Gothic"/>
              <a:buNone/>
            </a:pPr>
            <a:r>
              <a:rPr lang="en-US" sz="2800" b="1" dirty="0">
                <a:solidFill>
                  <a:srgbClr val="262626"/>
                </a:solidFill>
                <a:latin typeface="Arial" panose="020B0604020202020204" pitchFamily="34" charset="0"/>
                <a:ea typeface="Century Gothic"/>
                <a:cs typeface="Arial" panose="020B0604020202020204" pitchFamily="34" charset="0"/>
                <a:sym typeface="Century Gothic"/>
              </a:rPr>
              <a:t>CLUSTERING APPROACH </a:t>
            </a:r>
            <a:endParaRPr sz="1400" dirty="0">
              <a:latin typeface="Arial" panose="020B0604020202020204" pitchFamily="34" charset="0"/>
              <a:cs typeface="Arial" panose="020B0604020202020204" pitchFamily="34" charset="0"/>
            </a:endParaRPr>
          </a:p>
        </p:txBody>
      </p:sp>
      <p:sp>
        <p:nvSpPr>
          <p:cNvPr id="145" name="Google Shape;145;p19"/>
          <p:cNvSpPr txBox="1"/>
          <p:nvPr/>
        </p:nvSpPr>
        <p:spPr>
          <a:xfrm>
            <a:off x="506203" y="1439055"/>
            <a:ext cx="11054426" cy="4177974"/>
          </a:xfrm>
          <a:prstGeom prst="rect">
            <a:avLst/>
          </a:prstGeom>
          <a:noFill/>
          <a:ln>
            <a:solidFill>
              <a:schemeClr val="bg2"/>
            </a:solidFill>
          </a:ln>
        </p:spPr>
        <p:txBody>
          <a:bodyPr spcFirstLastPara="1" wrap="square" lIns="91425" tIns="45700" rIns="91425" bIns="45700" anchor="ctr" anchorCtr="0">
            <a:normAutofit fontScale="25000" lnSpcReduction="20000"/>
          </a:bodyPr>
          <a:lstStyle/>
          <a:p>
            <a:pPr marL="228600" marR="0" lvl="0" indent="-228600" algn="l" rtl="0">
              <a:lnSpc>
                <a:spcPct val="100000"/>
              </a:lnSpc>
              <a:spcBef>
                <a:spcPts val="0"/>
              </a:spcBef>
              <a:spcAft>
                <a:spcPts val="0"/>
              </a:spcAft>
              <a:buClr>
                <a:srgbClr val="000000"/>
              </a:buClr>
              <a:buSzPct val="100000"/>
              <a:buFont typeface="Noto Sans Symbols"/>
              <a:buChar char="▪"/>
            </a:pPr>
            <a:r>
              <a:rPr lang="en-US" sz="6400" dirty="0">
                <a:solidFill>
                  <a:srgbClr val="000000"/>
                </a:solidFill>
                <a:latin typeface="Arial" panose="020B0604020202020204" pitchFamily="34" charset="0"/>
                <a:ea typeface="Century Gothic"/>
                <a:cs typeface="Arial" panose="020B0604020202020204" pitchFamily="34" charset="0"/>
                <a:sym typeface="Century Gothic"/>
              </a:rPr>
              <a:t>Segmentation/Clustering of the large retail dataset will enable Adidas to learn past market trends. This new clusters will help the brand learn more about retailers, regions and products and enable them to make tailer-made campaigns to reach its audience.</a:t>
            </a:r>
            <a:endParaRPr dirty="0">
              <a:latin typeface="Arial" panose="020B0604020202020204" pitchFamily="34" charset="0"/>
              <a:cs typeface="Arial" panose="020B0604020202020204" pitchFamily="34" charset="0"/>
            </a:endParaRPr>
          </a:p>
          <a:p>
            <a:pPr marL="228600" marR="0" lvl="0" indent="-228600" algn="l" rtl="0">
              <a:lnSpc>
                <a:spcPct val="100000"/>
              </a:lnSpc>
              <a:spcBef>
                <a:spcPts val="3030"/>
              </a:spcBef>
              <a:spcAft>
                <a:spcPts val="0"/>
              </a:spcAft>
              <a:buClr>
                <a:srgbClr val="262626"/>
              </a:buClr>
              <a:buSzPct val="100000"/>
              <a:buFont typeface="Noto Sans Symbols"/>
              <a:buChar char="▪"/>
            </a:pPr>
            <a:r>
              <a:rPr lang="en-US" sz="6400" dirty="0">
                <a:solidFill>
                  <a:srgbClr val="262626"/>
                </a:solidFill>
                <a:latin typeface="Arial" panose="020B0604020202020204" pitchFamily="34" charset="0"/>
                <a:ea typeface="Century Gothic"/>
                <a:cs typeface="Arial" panose="020B0604020202020204" pitchFamily="34" charset="0"/>
                <a:sym typeface="Century Gothic"/>
              </a:rPr>
              <a:t>A data-driven predictive model will be applied to the dataset to identify potential clusters. Different unsupervised machine learning clustering techniques to be applied.</a:t>
            </a:r>
            <a:endParaRPr dirty="0">
              <a:latin typeface="Arial" panose="020B0604020202020204" pitchFamily="34" charset="0"/>
              <a:cs typeface="Arial" panose="020B0604020202020204" pitchFamily="34" charset="0"/>
            </a:endParaRPr>
          </a:p>
          <a:p>
            <a:pPr marL="228600" marR="0" lvl="0" indent="-228600" algn="l" rtl="0">
              <a:lnSpc>
                <a:spcPct val="100000"/>
              </a:lnSpc>
              <a:spcBef>
                <a:spcPts val="3030"/>
              </a:spcBef>
              <a:spcAft>
                <a:spcPts val="0"/>
              </a:spcAft>
              <a:buClr>
                <a:srgbClr val="262626"/>
              </a:buClr>
              <a:buSzPct val="100000"/>
              <a:buFont typeface="Noto Sans Symbols"/>
              <a:buChar char="▪"/>
            </a:pPr>
            <a:r>
              <a:rPr lang="en-US" sz="6400" dirty="0">
                <a:solidFill>
                  <a:srgbClr val="262626"/>
                </a:solidFill>
                <a:latin typeface="Arial" panose="020B0604020202020204" pitchFamily="34" charset="0"/>
                <a:ea typeface="Century Gothic"/>
                <a:cs typeface="Arial" panose="020B0604020202020204" pitchFamily="34" charset="0"/>
                <a:sym typeface="Century Gothic"/>
              </a:rPr>
              <a:t>Use of different clustering machine learning techniques will enable us determine, the best model for the dataset and arrive at the best number of the clusters for the available heterogenous data.</a:t>
            </a:r>
            <a:endParaRPr dirty="0">
              <a:latin typeface="Arial" panose="020B0604020202020204" pitchFamily="34" charset="0"/>
              <a:cs typeface="Arial" panose="020B0604020202020204" pitchFamily="34" charset="0"/>
            </a:endParaRPr>
          </a:p>
          <a:p>
            <a:pPr marL="228600" marR="0" lvl="0" indent="-228600" algn="l" rtl="0">
              <a:lnSpc>
                <a:spcPct val="100000"/>
              </a:lnSpc>
              <a:spcBef>
                <a:spcPts val="3030"/>
              </a:spcBef>
              <a:spcAft>
                <a:spcPts val="0"/>
              </a:spcAft>
              <a:buClr>
                <a:srgbClr val="262626"/>
              </a:buClr>
              <a:buSzPct val="100000"/>
              <a:buFont typeface="Noto Sans Symbols"/>
              <a:buChar char="▪"/>
            </a:pPr>
            <a:r>
              <a:rPr lang="en-US" sz="6400" dirty="0">
                <a:solidFill>
                  <a:srgbClr val="262626"/>
                </a:solidFill>
                <a:latin typeface="Arial" panose="020B0604020202020204" pitchFamily="34" charset="0"/>
                <a:ea typeface="Century Gothic"/>
                <a:cs typeface="Arial" panose="020B0604020202020204" pitchFamily="34" charset="0"/>
                <a:sym typeface="Century Gothic"/>
              </a:rPr>
              <a:t>Once we have extracted smaller homogeneous groups(clusters), business can focus on targeting activities towards this group.</a:t>
            </a:r>
            <a:endParaRPr dirty="0">
              <a:latin typeface="Arial" panose="020B0604020202020204" pitchFamily="34" charset="0"/>
              <a:cs typeface="Arial" panose="020B0604020202020204" pitchFamily="34" charset="0"/>
            </a:endParaRPr>
          </a:p>
          <a:p>
            <a:pPr marL="228600" marR="0" lvl="0" indent="-228600" algn="l" rtl="0">
              <a:lnSpc>
                <a:spcPct val="100000"/>
              </a:lnSpc>
              <a:spcBef>
                <a:spcPts val="3030"/>
              </a:spcBef>
              <a:spcAft>
                <a:spcPts val="0"/>
              </a:spcAft>
              <a:buClr>
                <a:srgbClr val="262626"/>
              </a:buClr>
              <a:buSzPct val="100000"/>
              <a:buFont typeface="Noto Sans Symbols"/>
              <a:buChar char="▪"/>
            </a:pPr>
            <a:r>
              <a:rPr lang="en-US" sz="6400" dirty="0">
                <a:solidFill>
                  <a:srgbClr val="262626"/>
                </a:solidFill>
                <a:latin typeface="Arial" panose="020B0604020202020204" pitchFamily="34" charset="0"/>
                <a:ea typeface="Century Gothic"/>
                <a:cs typeface="Arial" panose="020B0604020202020204" pitchFamily="34" charset="0"/>
                <a:sym typeface="Century Gothic"/>
              </a:rPr>
              <a:t>As new data gets generated, this process should be continued with periodic updates to the data to improve the model and define new clusters</a:t>
            </a:r>
            <a:endParaRPr lang="en-IN" sz="6400" dirty="0">
              <a:solidFill>
                <a:srgbClr val="262626"/>
              </a:solidFill>
              <a:latin typeface="Arial" panose="020B0604020202020204" pitchFamily="34" charset="0"/>
              <a:ea typeface="Century Gothic"/>
              <a:cs typeface="Arial" panose="020B0604020202020204" pitchFamily="34" charset="0"/>
              <a:sym typeface="Century Gothic"/>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sp>
        <p:nvSpPr>
          <p:cNvPr id="375" name="Google Shape;375;p34"/>
          <p:cNvSpPr txBox="1"/>
          <p:nvPr/>
        </p:nvSpPr>
        <p:spPr>
          <a:xfrm>
            <a:off x="506203" y="-33057"/>
            <a:ext cx="10907468" cy="1006929"/>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chemeClr val="dk1"/>
              </a:buClr>
              <a:buSzPts val="3200"/>
              <a:buFont typeface="Calibri"/>
              <a:buNone/>
            </a:pPr>
            <a:r>
              <a:rPr lang="en-US" sz="3200" b="1">
                <a:solidFill>
                  <a:schemeClr val="dk1"/>
                </a:solidFill>
                <a:latin typeface="Arial" panose="020B0604020202020204" pitchFamily="34" charset="0"/>
                <a:ea typeface="Calibri"/>
                <a:cs typeface="Arial" panose="020B0604020202020204" pitchFamily="34" charset="0"/>
                <a:sym typeface="Calibri"/>
              </a:rPr>
              <a:t>Clustering </a:t>
            </a:r>
            <a:endParaRPr sz="3200" b="1">
              <a:solidFill>
                <a:srgbClr val="0070C0"/>
              </a:solidFill>
              <a:latin typeface="Arial" panose="020B0604020202020204" pitchFamily="34" charset="0"/>
              <a:ea typeface="Calibri"/>
              <a:cs typeface="Arial" panose="020B0604020202020204" pitchFamily="34" charset="0"/>
              <a:sym typeface="Calibri"/>
            </a:endParaRPr>
          </a:p>
        </p:txBody>
      </p:sp>
      <p:sp>
        <p:nvSpPr>
          <p:cNvPr id="380" name="Google Shape;380;p34"/>
          <p:cNvSpPr txBox="1"/>
          <p:nvPr/>
        </p:nvSpPr>
        <p:spPr>
          <a:xfrm>
            <a:off x="561565" y="3054755"/>
            <a:ext cx="5395834" cy="389766"/>
          </a:xfrm>
          <a:prstGeom prst="rect">
            <a:avLst/>
          </a:prstGeom>
          <a:solidFill>
            <a:srgbClr val="00B0F0"/>
          </a:solid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rgbClr val="000000"/>
              </a:buClr>
              <a:buSzPts val="1600"/>
              <a:buFont typeface="Century Gothic"/>
              <a:buNone/>
            </a:pPr>
            <a:r>
              <a:rPr lang="en-US" sz="1600" b="1">
                <a:solidFill>
                  <a:schemeClr val="bg1"/>
                </a:solidFill>
                <a:latin typeface="Arial" panose="020B0604020202020204" pitchFamily="34" charset="0"/>
                <a:ea typeface="Century Gothic"/>
                <a:cs typeface="Arial" panose="020B0604020202020204" pitchFamily="34" charset="0"/>
                <a:sym typeface="Century Gothic"/>
              </a:rPr>
              <a:t>Clustering Algorithms</a:t>
            </a:r>
            <a:endParaRPr b="1">
              <a:solidFill>
                <a:schemeClr val="bg1"/>
              </a:solidFill>
              <a:latin typeface="Arial" panose="020B0604020202020204" pitchFamily="34" charset="0"/>
              <a:cs typeface="Arial" panose="020B0604020202020204" pitchFamily="34" charset="0"/>
            </a:endParaRPr>
          </a:p>
        </p:txBody>
      </p:sp>
      <p:sp>
        <p:nvSpPr>
          <p:cNvPr id="381" name="Google Shape;381;p34"/>
          <p:cNvSpPr txBox="1"/>
          <p:nvPr/>
        </p:nvSpPr>
        <p:spPr>
          <a:xfrm>
            <a:off x="6003473" y="3054755"/>
            <a:ext cx="5395834" cy="389766"/>
          </a:xfrm>
          <a:prstGeom prst="rect">
            <a:avLst/>
          </a:prstGeom>
          <a:solidFill>
            <a:srgbClr val="00B0F0"/>
          </a:solidFill>
          <a:ln>
            <a:noFill/>
          </a:ln>
        </p:spPr>
        <p:txBody>
          <a:bodyPr spcFirstLastPara="1" wrap="square" lIns="91425" tIns="45700" rIns="91425" bIns="45700" anchor="t" anchorCtr="0">
            <a:normAutofit/>
          </a:bodyPr>
          <a:lstStyle/>
          <a:p>
            <a:pPr marL="0" marR="0" lvl="0" indent="0" algn="l" rtl="0">
              <a:lnSpc>
                <a:spcPct val="100000"/>
              </a:lnSpc>
              <a:spcBef>
                <a:spcPts val="0"/>
              </a:spcBef>
              <a:spcAft>
                <a:spcPts val="0"/>
              </a:spcAft>
              <a:buClr>
                <a:srgbClr val="000000"/>
              </a:buClr>
              <a:buSzPts val="1600"/>
              <a:buFont typeface="Century Gothic"/>
              <a:buNone/>
            </a:pPr>
            <a:r>
              <a:rPr lang="en-US" sz="1600" b="1">
                <a:solidFill>
                  <a:schemeClr val="bg1"/>
                </a:solidFill>
                <a:latin typeface="Arial" panose="020B0604020202020204" pitchFamily="34" charset="0"/>
                <a:ea typeface="Century Gothic"/>
                <a:cs typeface="Arial" panose="020B0604020202020204" pitchFamily="34" charset="0"/>
                <a:sym typeface="Century Gothic"/>
              </a:rPr>
              <a:t>Applications of Clustering Algorithms</a:t>
            </a:r>
            <a:endParaRPr b="1">
              <a:solidFill>
                <a:schemeClr val="bg1"/>
              </a:solidFill>
              <a:latin typeface="Arial" panose="020B0604020202020204" pitchFamily="34" charset="0"/>
              <a:cs typeface="Arial" panose="020B0604020202020204" pitchFamily="34" charset="0"/>
            </a:endParaRPr>
          </a:p>
        </p:txBody>
      </p:sp>
      <p:sp>
        <p:nvSpPr>
          <p:cNvPr id="382" name="Google Shape;382;p34"/>
          <p:cNvSpPr txBox="1"/>
          <p:nvPr/>
        </p:nvSpPr>
        <p:spPr>
          <a:xfrm>
            <a:off x="561565" y="3516361"/>
            <a:ext cx="5395834" cy="1815841"/>
          </a:xfrm>
          <a:prstGeom prst="rect">
            <a:avLst/>
          </a:prstGeom>
          <a:noFill/>
          <a:ln w="9525" cap="flat" cmpd="sng">
            <a:solidFill>
              <a:srgbClr val="A5A5A5"/>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chemeClr val="accent2"/>
                </a:solidFill>
                <a:latin typeface="Arial" panose="020B0604020202020204" pitchFamily="34" charset="0"/>
                <a:ea typeface="Century Gothic"/>
                <a:cs typeface="Arial" panose="020B0604020202020204" pitchFamily="34" charset="0"/>
                <a:sym typeface="Century Gothic"/>
              </a:rPr>
              <a:t>K-Means</a:t>
            </a:r>
            <a:endParaRPr b="1" dirty="0">
              <a:solidFill>
                <a:schemeClr val="accent2"/>
              </a:solidFill>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b="1" dirty="0">
                <a:solidFill>
                  <a:schemeClr val="accent2"/>
                </a:solidFill>
                <a:latin typeface="Arial" panose="020B0604020202020204" pitchFamily="34" charset="0"/>
                <a:ea typeface="Century Gothic"/>
                <a:cs typeface="Arial" panose="020B0604020202020204" pitchFamily="34" charset="0"/>
                <a:sym typeface="Century Gothic"/>
              </a:rPr>
              <a:t>K-Prototype Clustering</a:t>
            </a:r>
            <a:endParaRPr b="1" dirty="0">
              <a:solidFill>
                <a:schemeClr val="accent2"/>
              </a:solidFill>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b="1" dirty="0">
                <a:solidFill>
                  <a:schemeClr val="accent2"/>
                </a:solidFill>
                <a:latin typeface="Arial" panose="020B0604020202020204" pitchFamily="34" charset="0"/>
                <a:ea typeface="Century Gothic"/>
                <a:cs typeface="Arial" panose="020B0604020202020204" pitchFamily="34" charset="0"/>
                <a:sym typeface="Century Gothic"/>
              </a:rPr>
              <a:t>DBSCAN</a:t>
            </a:r>
            <a:endParaRPr b="1" dirty="0">
              <a:solidFill>
                <a:schemeClr val="accent2"/>
              </a:solidFill>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b="1" dirty="0">
                <a:solidFill>
                  <a:schemeClr val="accent2"/>
                </a:solidFill>
                <a:latin typeface="Arial" panose="020B0604020202020204" pitchFamily="34" charset="0"/>
                <a:ea typeface="Century Gothic"/>
                <a:cs typeface="Arial" panose="020B0604020202020204" pitchFamily="34" charset="0"/>
                <a:sym typeface="Century Gothic"/>
              </a:rPr>
              <a:t>Hierarchical Clustering</a:t>
            </a:r>
            <a:endParaRPr b="1" dirty="0">
              <a:solidFill>
                <a:schemeClr val="accent2"/>
              </a:solidFill>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BIRCH</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Mean Shift Algorithm</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Gaussian Mixture Model</a:t>
            </a:r>
            <a:endParaRPr dirty="0">
              <a:latin typeface="Arial" panose="020B0604020202020204" pitchFamily="34" charset="0"/>
              <a:cs typeface="Arial" panose="020B0604020202020204" pitchFamily="34" charset="0"/>
            </a:endParaRPr>
          </a:p>
        </p:txBody>
      </p:sp>
      <p:sp>
        <p:nvSpPr>
          <p:cNvPr id="383" name="Google Shape;383;p34"/>
          <p:cNvSpPr txBox="1"/>
          <p:nvPr/>
        </p:nvSpPr>
        <p:spPr>
          <a:xfrm>
            <a:off x="6017837" y="3516361"/>
            <a:ext cx="5395834" cy="1846619"/>
          </a:xfrm>
          <a:prstGeom prst="rect">
            <a:avLst/>
          </a:prstGeom>
          <a:noFill/>
          <a:ln w="9525" cap="flat" cmpd="sng">
            <a:solidFill>
              <a:srgbClr val="A5A5A5"/>
            </a:solidFill>
            <a:prstDash val="solid"/>
            <a:round/>
            <a:headEnd type="none" w="sm" len="sm"/>
            <a:tailEnd type="none" w="sm" len="sm"/>
          </a:ln>
        </p:spPr>
        <p:txBody>
          <a:bodyPr spcFirstLastPara="1" wrap="square" lIns="91425" tIns="45700" rIns="91425" bIns="45700" anchor="t" anchorCtr="0">
            <a:spAutoFit/>
          </a:bodyPr>
          <a:lstStyle/>
          <a:p>
            <a:r>
              <a:rPr lang="en-US" sz="1600" b="1" dirty="0">
                <a:solidFill>
                  <a:srgbClr val="ED7D31"/>
                </a:solidFill>
                <a:latin typeface="Arial" panose="020B0604020202020204" pitchFamily="34" charset="0"/>
                <a:ea typeface="Century Gothic"/>
                <a:cs typeface="Arial" panose="020B0604020202020204" pitchFamily="34" charset="0"/>
                <a:sym typeface="Century Gothic"/>
              </a:rPr>
              <a:t>Retail Clustering</a:t>
            </a:r>
            <a:endParaRPr lang="en-US" sz="1600" dirty="0">
              <a:solidFill>
                <a:srgbClr val="000000"/>
              </a:solidFill>
              <a:latin typeface="Arial" panose="020B0604020202020204" pitchFamily="34" charset="0"/>
              <a:ea typeface="Century Gothic"/>
              <a:cs typeface="Arial" panose="020B0604020202020204" pitchFamily="34" charset="0"/>
              <a:sym typeface="Century Gothic"/>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Customer Segmentation</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Clinical Management </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Image Segmentation </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Pattern Recognition</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Social network analysis</a:t>
            </a:r>
            <a:endParaRPr dirty="0">
              <a:latin typeface="Arial" panose="020B0604020202020204" pitchFamily="34" charset="0"/>
              <a:cs typeface="Arial" panose="020B0604020202020204" pitchFamily="34" charset="0"/>
            </a:endParaRPr>
          </a:p>
          <a:p>
            <a:pPr marL="0" marR="0" lvl="0" indent="0" algn="l" rtl="0">
              <a:spcBef>
                <a:spcPts val="0"/>
              </a:spcBef>
              <a:spcAft>
                <a:spcPts val="0"/>
              </a:spcAft>
              <a:buNone/>
            </a:pPr>
            <a:endParaRPr sz="1800" dirty="0">
              <a:solidFill>
                <a:schemeClr val="dk1"/>
              </a:solidFill>
              <a:latin typeface="Arial" panose="020B0604020202020204" pitchFamily="34" charset="0"/>
              <a:ea typeface="Calibri"/>
              <a:cs typeface="Arial" panose="020B0604020202020204" pitchFamily="34" charset="0"/>
              <a:sym typeface="Calibri"/>
            </a:endParaRPr>
          </a:p>
        </p:txBody>
      </p:sp>
      <p:sp>
        <p:nvSpPr>
          <p:cNvPr id="4" name="TextBox 3">
            <a:extLst>
              <a:ext uri="{FF2B5EF4-FFF2-40B4-BE49-F238E27FC236}">
                <a16:creationId xmlns:a16="http://schemas.microsoft.com/office/drawing/2014/main" id="{3D74F503-65CB-9C5E-3B7A-43C1D883B33E}"/>
              </a:ext>
            </a:extLst>
          </p:cNvPr>
          <p:cNvSpPr txBox="1"/>
          <p:nvPr/>
        </p:nvSpPr>
        <p:spPr>
          <a:xfrm>
            <a:off x="506203" y="1388302"/>
            <a:ext cx="10819338" cy="646331"/>
          </a:xfrm>
          <a:prstGeom prst="rect">
            <a:avLst/>
          </a:prstGeom>
          <a:noFill/>
        </p:spPr>
        <p:txBody>
          <a:bodyPr wrap="square">
            <a:spAutoFit/>
          </a:bodyPr>
          <a:lstStyle/>
          <a:p>
            <a:pPr marL="0" marR="0" lvl="0" indent="0" algn="l" rtl="0">
              <a:lnSpc>
                <a:spcPct val="100000"/>
              </a:lnSpc>
              <a:spcBef>
                <a:spcPts val="0"/>
              </a:spcBef>
              <a:spcAft>
                <a:spcPts val="0"/>
              </a:spcAft>
              <a:buClr>
                <a:srgbClr val="000000"/>
              </a:buClr>
              <a:buSzPts val="1600"/>
              <a:buFont typeface="Century Gothic"/>
              <a:buNone/>
            </a:pPr>
            <a:r>
              <a:rPr lang="en-US" b="0" i="0" u="none" strike="noStrike" dirty="0">
                <a:solidFill>
                  <a:srgbClr val="000000"/>
                </a:solidFill>
                <a:effectLst/>
                <a:cs typeface="Arial" panose="020B0604020202020204" pitchFamily="34" charset="0"/>
              </a:rPr>
              <a:t>Clustering, an </a:t>
            </a:r>
            <a:r>
              <a:rPr lang="en-US" dirty="0">
                <a:solidFill>
                  <a:srgbClr val="000000"/>
                </a:solidFill>
                <a:ea typeface="Century Gothic"/>
                <a:cs typeface="Arial" panose="020B0604020202020204" pitchFamily="34" charset="0"/>
                <a:sym typeface="Century Gothic"/>
              </a:rPr>
              <a:t>unsupervised learning technique, </a:t>
            </a:r>
            <a:r>
              <a:rPr lang="en-US" b="0" i="0" u="none" strike="noStrike" dirty="0">
                <a:solidFill>
                  <a:srgbClr val="000000"/>
                </a:solidFill>
                <a:effectLst/>
                <a:cs typeface="Arial" panose="020B0604020202020204" pitchFamily="34" charset="0"/>
              </a:rPr>
              <a:t>is the process of arranging a group of objects in such a manner that the objects in the same group are more like each other than to the objects in any other group. </a:t>
            </a:r>
            <a:endParaRPr lang="en-US" dirty="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sp>
        <p:nvSpPr>
          <p:cNvPr id="394" name="Google Shape;394;p36"/>
          <p:cNvSpPr txBox="1">
            <a:spLocks noGrp="1"/>
          </p:cNvSpPr>
          <p:nvPr>
            <p:ph type="title"/>
          </p:nvPr>
        </p:nvSpPr>
        <p:spPr>
          <a:xfrm>
            <a:off x="612648" y="294199"/>
            <a:ext cx="10972800" cy="98170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700"/>
              <a:buFont typeface="Calibri"/>
              <a:buNone/>
            </a:pPr>
            <a:r>
              <a:rPr lang="en-US" sz="2800" b="1" dirty="0">
                <a:solidFill>
                  <a:schemeClr val="dk1"/>
                </a:solidFill>
                <a:latin typeface="Arial" panose="020B0604020202020204" pitchFamily="34" charset="0"/>
                <a:ea typeface="Calibri"/>
                <a:sym typeface="Calibri"/>
              </a:rPr>
              <a:t>Clustering</a:t>
            </a:r>
            <a:br>
              <a:rPr lang="en-US" sz="2800" b="1" dirty="0">
                <a:solidFill>
                  <a:schemeClr val="dk1"/>
                </a:solidFill>
                <a:latin typeface="Arial" panose="020B0604020202020204" pitchFamily="34" charset="0"/>
                <a:ea typeface="Calibri"/>
                <a:sym typeface="Calibri"/>
              </a:rPr>
            </a:br>
            <a:r>
              <a:rPr lang="en-US" sz="2800" b="1" dirty="0">
                <a:solidFill>
                  <a:srgbClr val="0070C0"/>
                </a:solidFill>
                <a:latin typeface="Arial" panose="020B0604020202020204" pitchFamily="34" charset="0"/>
                <a:ea typeface="Calibri"/>
                <a:sym typeface="Calibri"/>
              </a:rPr>
              <a:t>(K- Means Method)</a:t>
            </a:r>
            <a:endParaRPr sz="2800" dirty="0">
              <a:latin typeface="Arial" panose="020B0604020202020204" pitchFamily="34" charset="0"/>
            </a:endParaRPr>
          </a:p>
        </p:txBody>
      </p:sp>
      <p:sp>
        <p:nvSpPr>
          <p:cNvPr id="395" name="Google Shape;395;p36"/>
          <p:cNvSpPr txBox="1"/>
          <p:nvPr/>
        </p:nvSpPr>
        <p:spPr>
          <a:xfrm>
            <a:off x="439703" y="1474930"/>
            <a:ext cx="6091516" cy="4887262"/>
          </a:xfrm>
          <a:prstGeom prst="rect">
            <a:avLst/>
          </a:prstGeom>
          <a:noFill/>
          <a:ln>
            <a:noFill/>
          </a:ln>
        </p:spPr>
        <p:txBody>
          <a:bodyPr spcFirstLastPara="1" wrap="square" lIns="91425" tIns="45700" rIns="91425" bIns="45700" anchor="t" anchorCtr="0">
            <a:noAutofit/>
          </a:bodyPr>
          <a:lstStyle/>
          <a:p>
            <a:pPr marL="285750" marR="0" lvl="0" indent="-285750" algn="l" rtl="0">
              <a:lnSpc>
                <a:spcPct val="90000"/>
              </a:lnSpc>
              <a:spcBef>
                <a:spcPts val="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K-Means performs the division of objects into clusters that share similarities and are dissimilar to the objects belonging to another cluster. </a:t>
            </a:r>
            <a:endParaRPr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K’ in the name of the algorithm represents the number of groups/clusters we want to classify our items into.</a:t>
            </a:r>
            <a:endParaRPr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Undertook Elbow approach – one of the most common techniques for figuring out the ideal number of groups (k) to divide the data into.</a:t>
            </a:r>
            <a:endParaRPr sz="1400" dirty="0">
              <a:latin typeface="Arial" panose="020B0604020202020204" pitchFamily="34" charset="0"/>
              <a:cs typeface="Arial" panose="020B0604020202020204" pitchFamily="34" charset="0"/>
            </a:endParaRPr>
          </a:p>
          <a:p>
            <a:pPr marL="742950" marR="0" lvl="1" indent="-285750" algn="l" rtl="0">
              <a:lnSpc>
                <a:spcPct val="90000"/>
              </a:lnSpc>
              <a:spcBef>
                <a:spcPts val="500"/>
              </a:spcBef>
              <a:spcAft>
                <a:spcPts val="0"/>
              </a:spcAft>
              <a:buClr>
                <a:schemeClr val="dk1"/>
              </a:buClr>
              <a:buSzPts val="1600"/>
              <a:buFont typeface="Arial"/>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Selected number of clusters = 3</a:t>
            </a:r>
            <a:endParaRPr sz="1400" dirty="0">
              <a:latin typeface="Arial" panose="020B0604020202020204" pitchFamily="34" charset="0"/>
              <a:cs typeface="Arial" panose="020B0604020202020204" pitchFamily="34" charset="0"/>
            </a:endParaRPr>
          </a:p>
          <a:p>
            <a:pPr marL="0" marR="0" lvl="0" indent="0" algn="l" rtl="0">
              <a:lnSpc>
                <a:spcPct val="90000"/>
              </a:lnSpc>
              <a:spcBef>
                <a:spcPts val="1000"/>
              </a:spcBef>
              <a:spcAft>
                <a:spcPts val="0"/>
              </a:spcAft>
              <a:buClr>
                <a:srgbClr val="262626"/>
              </a:buClr>
              <a:buSzPts val="1600"/>
              <a:buFont typeface="Calibri"/>
              <a:buNone/>
            </a:pPr>
            <a:endParaRPr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Evaluation metric considered - Silhouette Coefficient = 0.294</a:t>
            </a:r>
            <a:endParaRPr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The clusters formed distinctly had the following features</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8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0 (blue): Low operating margin but the other features are trending high </a:t>
            </a: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1 (red): Similar characteristics as cluster 0 but the averages for the features are significantly low</a:t>
            </a:r>
            <a:endParaRPr sz="1400" dirty="0">
              <a:latin typeface="Arial" panose="020B0604020202020204" pitchFamily="34" charset="0"/>
              <a:cs typeface="Arial" panose="020B0604020202020204" pitchFamily="34" charset="0"/>
            </a:endParaRPr>
          </a:p>
          <a:p>
            <a:pPr marL="685800" lvl="1" indent="-228600">
              <a:lnSpc>
                <a:spcPct val="90000"/>
              </a:lnSpc>
              <a:spcBef>
                <a:spcPts val="500"/>
              </a:spcBef>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2 (green): High operating margin whereas the other features are trending comparatively low</a:t>
            </a:r>
            <a:endParaRPr lang="en-US"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endParaRPr sz="1400" dirty="0">
              <a:latin typeface="Arial" panose="020B0604020202020204" pitchFamily="34" charset="0"/>
              <a:cs typeface="Arial" panose="020B0604020202020204" pitchFamily="34" charset="0"/>
            </a:endParaRPr>
          </a:p>
          <a:p>
            <a:pPr marL="285750" marR="0" lvl="0" indent="-184150" algn="l" rtl="0">
              <a:lnSpc>
                <a:spcPct val="90000"/>
              </a:lnSpc>
              <a:spcBef>
                <a:spcPts val="1000"/>
              </a:spcBef>
              <a:spcAft>
                <a:spcPts val="0"/>
              </a:spcAft>
              <a:buClr>
                <a:srgbClr val="262626"/>
              </a:buClr>
              <a:buSzPts val="1600"/>
              <a:buFont typeface="Arial"/>
              <a:buNone/>
            </a:pPr>
            <a:endParaRPr sz="1400" dirty="0">
              <a:solidFill>
                <a:schemeClr val="dk1"/>
              </a:solidFill>
              <a:latin typeface="Arial" panose="020B0604020202020204" pitchFamily="34" charset="0"/>
              <a:ea typeface="Calibri"/>
              <a:cs typeface="Arial" panose="020B0604020202020204" pitchFamily="34" charset="0"/>
              <a:sym typeface="Calibri"/>
            </a:endParaRPr>
          </a:p>
        </p:txBody>
      </p:sp>
      <p:pic>
        <p:nvPicPr>
          <p:cNvPr id="397" name="Google Shape;397;p36"/>
          <p:cNvPicPr preferRelativeResize="0"/>
          <p:nvPr/>
        </p:nvPicPr>
        <p:blipFill rotWithShape="1">
          <a:blip r:embed="rId3">
            <a:alphaModFix/>
          </a:blip>
          <a:srcRect l="2858" t="13424"/>
          <a:stretch/>
        </p:blipFill>
        <p:spPr>
          <a:xfrm>
            <a:off x="6673917" y="1148080"/>
            <a:ext cx="4811968" cy="2117480"/>
          </a:xfrm>
          <a:prstGeom prst="rect">
            <a:avLst/>
          </a:prstGeom>
          <a:noFill/>
          <a:ln>
            <a:noFill/>
          </a:ln>
        </p:spPr>
      </p:pic>
      <p:pic>
        <p:nvPicPr>
          <p:cNvPr id="3" name="Picture 2">
            <a:extLst>
              <a:ext uri="{FF2B5EF4-FFF2-40B4-BE49-F238E27FC236}">
                <a16:creationId xmlns:a16="http://schemas.microsoft.com/office/drawing/2014/main" id="{A6DB04A6-2D1B-1FC2-2BE4-885E10439B76}"/>
              </a:ext>
            </a:extLst>
          </p:cNvPr>
          <p:cNvPicPr>
            <a:picLocks noChangeAspect="1"/>
          </p:cNvPicPr>
          <p:nvPr/>
        </p:nvPicPr>
        <p:blipFill rotWithShape="1">
          <a:blip r:embed="rId4">
            <a:extLst>
              <a:ext uri="{28A0092B-C50C-407E-A947-70E740481C1C}">
                <a14:useLocalDpi xmlns:a14="http://schemas.microsoft.com/office/drawing/2010/main" val="0"/>
              </a:ext>
            </a:extLst>
          </a:blip>
          <a:srcRect l="12445" t="7091" b="15030"/>
          <a:stretch/>
        </p:blipFill>
        <p:spPr>
          <a:xfrm>
            <a:off x="6899377" y="3495906"/>
            <a:ext cx="4811968" cy="2866286"/>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sp>
        <p:nvSpPr>
          <p:cNvPr id="402" name="Google Shape;402;p37"/>
          <p:cNvSpPr txBox="1">
            <a:spLocks noGrp="1"/>
          </p:cNvSpPr>
          <p:nvPr>
            <p:ph type="title"/>
          </p:nvPr>
        </p:nvSpPr>
        <p:spPr>
          <a:xfrm>
            <a:off x="612648" y="294200"/>
            <a:ext cx="10972800" cy="1002972"/>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700"/>
              <a:buFont typeface="Calibri"/>
              <a:buNone/>
            </a:pPr>
            <a:r>
              <a:rPr lang="en-US" sz="2800" b="1" dirty="0">
                <a:solidFill>
                  <a:schemeClr val="dk1"/>
                </a:solidFill>
                <a:latin typeface="Calibri"/>
                <a:ea typeface="Calibri"/>
                <a:cs typeface="Calibri"/>
                <a:sym typeface="Calibri"/>
              </a:rPr>
              <a:t>Clustering</a:t>
            </a:r>
            <a:br>
              <a:rPr lang="en-US" sz="2800" b="1" dirty="0">
                <a:solidFill>
                  <a:schemeClr val="dk1"/>
                </a:solidFill>
                <a:latin typeface="Calibri"/>
                <a:ea typeface="Calibri"/>
                <a:cs typeface="Calibri"/>
                <a:sym typeface="Calibri"/>
              </a:rPr>
            </a:br>
            <a:r>
              <a:rPr lang="en-US" sz="2800" b="1" dirty="0">
                <a:solidFill>
                  <a:srgbClr val="0070C0"/>
                </a:solidFill>
                <a:latin typeface="Calibri"/>
                <a:ea typeface="Calibri"/>
                <a:cs typeface="Calibri"/>
                <a:sym typeface="Calibri"/>
              </a:rPr>
              <a:t>(K- Prototype Method)</a:t>
            </a:r>
            <a:endParaRPr sz="2800" dirty="0"/>
          </a:p>
        </p:txBody>
      </p:sp>
      <p:sp>
        <p:nvSpPr>
          <p:cNvPr id="403" name="Google Shape;403;p37"/>
          <p:cNvSpPr txBox="1"/>
          <p:nvPr/>
        </p:nvSpPr>
        <p:spPr>
          <a:xfrm>
            <a:off x="507997" y="1573789"/>
            <a:ext cx="5986932" cy="4734862"/>
          </a:xfrm>
          <a:prstGeom prst="rect">
            <a:avLst/>
          </a:prstGeom>
          <a:noFill/>
          <a:ln>
            <a:noFill/>
          </a:ln>
        </p:spPr>
        <p:txBody>
          <a:bodyPr spcFirstLastPara="1" wrap="square" lIns="91425" tIns="45700" rIns="91425" bIns="45700" anchor="t" anchorCtr="0">
            <a:normAutofit/>
          </a:bodyPr>
          <a:lstStyle/>
          <a:p>
            <a:pPr marL="285750" marR="0" lvl="0" indent="-285750" algn="l" rtl="0">
              <a:lnSpc>
                <a:spcPct val="90000"/>
              </a:lnSpc>
              <a:spcBef>
                <a:spcPts val="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K-Prototype can handle clustering algorithms with the mixed data types (numerical and categorical variables). </a:t>
            </a:r>
            <a:endParaRPr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Its algorithm is an improvement of the K-Means and K-Mode clustering algorithm to handle clustering with the mixed data types.</a:t>
            </a:r>
          </a:p>
          <a:p>
            <a:pPr>
              <a:lnSpc>
                <a:spcPct val="90000"/>
              </a:lnSpc>
              <a:spcBef>
                <a:spcPts val="1000"/>
              </a:spcBef>
              <a:buClr>
                <a:schemeClr val="dk1"/>
              </a:buClr>
              <a:buSzPts val="1600"/>
            </a:pPr>
            <a:endParaRPr lang="en-US" sz="1400" dirty="0">
              <a:solidFill>
                <a:schemeClr val="dk1"/>
              </a:solidFill>
              <a:latin typeface="Arial" panose="020B0604020202020204" pitchFamily="34" charset="0"/>
              <a:ea typeface="Calibri"/>
              <a:cs typeface="Arial" panose="020B0604020202020204" pitchFamily="34" charset="0"/>
              <a:sym typeface="Calibri"/>
            </a:endParaRPr>
          </a:p>
          <a:p>
            <a:pPr>
              <a:lnSpc>
                <a:spcPct val="90000"/>
              </a:lnSpc>
              <a:spcBef>
                <a:spcPts val="1000"/>
              </a:spcBef>
              <a:buClr>
                <a:schemeClr val="dk1"/>
              </a:buClr>
              <a:buSzPts val="1600"/>
            </a:pPr>
            <a:endParaRPr lang="en-US" sz="1400" dirty="0">
              <a:solidFill>
                <a:schemeClr val="dk1"/>
              </a:solidFill>
              <a:latin typeface="Arial" panose="020B0604020202020204" pitchFamily="34" charset="0"/>
              <a:ea typeface="Calibri"/>
              <a:cs typeface="Arial" panose="020B0604020202020204" pitchFamily="34" charset="0"/>
              <a:sym typeface="Calibri"/>
            </a:endParaRPr>
          </a:p>
          <a:p>
            <a:pPr marL="285750" indent="-285750">
              <a:lnSpc>
                <a:spcPct val="90000"/>
              </a:lnSpc>
              <a:spcBef>
                <a:spcPts val="1000"/>
              </a:spcBef>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Selected number of clusters = 3 from the elbow method</a:t>
            </a:r>
            <a:endParaRPr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The clusters formed distinctly had the following features</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0 (blue): Low operating margin but the other features are trending high </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1 (red): Similar characteristics as cluster 0 but the averages for the features are significantly low</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2 (green): High operating margin whereas the other features are trending comparatively low</a:t>
            </a:r>
            <a:endParaRPr sz="14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BD90C12F-6F4D-516E-FAD1-F0D95D1FA668}"/>
              </a:ext>
            </a:extLst>
          </p:cNvPr>
          <p:cNvPicPr>
            <a:picLocks noChangeAspect="1"/>
          </p:cNvPicPr>
          <p:nvPr/>
        </p:nvPicPr>
        <p:blipFill rotWithShape="1">
          <a:blip r:embed="rId3">
            <a:extLst>
              <a:ext uri="{28A0092B-C50C-407E-A947-70E740481C1C}">
                <a14:useLocalDpi xmlns:a14="http://schemas.microsoft.com/office/drawing/2010/main" val="0"/>
              </a:ext>
            </a:extLst>
          </a:blip>
          <a:srcRect l="12270" t="5512" b="11695"/>
          <a:stretch/>
        </p:blipFill>
        <p:spPr>
          <a:xfrm>
            <a:off x="6975705" y="3266440"/>
            <a:ext cx="5056275" cy="3195320"/>
          </a:xfrm>
          <a:prstGeom prst="rect">
            <a:avLst/>
          </a:prstGeom>
        </p:spPr>
      </p:pic>
      <p:pic>
        <p:nvPicPr>
          <p:cNvPr id="2" name="Google Shape;404;p37" descr="Chart, line chart&#10;&#10;Description automatically generated">
            <a:extLst>
              <a:ext uri="{FF2B5EF4-FFF2-40B4-BE49-F238E27FC236}">
                <a16:creationId xmlns:a16="http://schemas.microsoft.com/office/drawing/2014/main" id="{1B77B550-0AA4-BF07-42FD-6E42771A176C}"/>
              </a:ext>
            </a:extLst>
          </p:cNvPr>
          <p:cNvPicPr preferRelativeResize="0"/>
          <p:nvPr/>
        </p:nvPicPr>
        <p:blipFill rotWithShape="1">
          <a:blip r:embed="rId4">
            <a:alphaModFix/>
          </a:blip>
          <a:srcRect/>
          <a:stretch/>
        </p:blipFill>
        <p:spPr>
          <a:xfrm>
            <a:off x="7707364" y="1046479"/>
            <a:ext cx="3793756" cy="2169475"/>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931595"/>
            <a:ext cx="3246120" cy="717452"/>
          </a:xfrm>
        </p:spPr>
        <p:txBody>
          <a:bodyPr>
            <a:normAutofit/>
          </a:bodyPr>
          <a:lstStyle/>
          <a:p>
            <a:r>
              <a:rPr lang="en-US" sz="2800" dirty="0"/>
              <a:t>INDEX</a:t>
            </a:r>
          </a:p>
        </p:txBody>
      </p:sp>
      <p:sp>
        <p:nvSpPr>
          <p:cNvPr id="6" name="TextBox 5"/>
          <p:cNvSpPr txBox="1"/>
          <p:nvPr/>
        </p:nvSpPr>
        <p:spPr>
          <a:xfrm>
            <a:off x="838200" y="1980419"/>
            <a:ext cx="11119338" cy="3182281"/>
          </a:xfrm>
          <a:prstGeom prst="rect">
            <a:avLst/>
          </a:prstGeom>
          <a:noFill/>
        </p:spPr>
        <p:txBody>
          <a:bodyPr wrap="square" rtlCol="0">
            <a:spAutoFit/>
          </a:bodyPr>
          <a:lstStyle/>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kumimoji="0" lang="en-US" i="0" u="none" strike="noStrike" kern="1200" cap="none" spc="0" normalizeH="0" baseline="0" noProof="0" dirty="0">
                <a:ln>
                  <a:noFill/>
                </a:ln>
                <a:solidFill>
                  <a:schemeClr val="bg1"/>
                </a:solidFill>
                <a:effectLst/>
                <a:uLnTx/>
                <a:uFillTx/>
                <a:latin typeface="Open Sans" panose="020B0606030504020204" pitchFamily="34" charset="0"/>
                <a:ea typeface="+mn-ea"/>
                <a:cs typeface="+mn-cs"/>
              </a:rPr>
              <a:t>Business Problem and Objective</a:t>
            </a:r>
          </a:p>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lang="en-US" dirty="0">
                <a:solidFill>
                  <a:schemeClr val="bg1"/>
                </a:solidFill>
                <a:latin typeface="Open Sans" panose="020B0606030504020204" pitchFamily="34" charset="0"/>
              </a:rPr>
              <a:t>Data Overview</a:t>
            </a:r>
          </a:p>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lang="en-US" dirty="0">
                <a:solidFill>
                  <a:schemeClr val="bg1"/>
                </a:solidFill>
                <a:latin typeface="Open Sans" panose="020B0606030504020204" pitchFamily="34" charset="0"/>
              </a:rPr>
              <a:t>Data Preparation and Pre-processing</a:t>
            </a:r>
          </a:p>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kumimoji="0" lang="en-US"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Exploratory Data Analysis</a:t>
            </a:r>
          </a:p>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kumimoji="0" lang="en-US"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Model Development - Clustering </a:t>
            </a:r>
          </a:p>
          <a:p>
            <a:pPr marL="633730" marR="0" lvl="0" indent="-633730" algn="l" defTabSz="914400" rtl="0" eaLnBrk="1" fontAlgn="auto" latinLnBrk="0" hangingPunct="1">
              <a:lnSpc>
                <a:spcPct val="150000"/>
              </a:lnSpc>
              <a:spcBef>
                <a:spcPts val="1000"/>
              </a:spcBef>
              <a:spcAft>
                <a:spcPts val="0"/>
              </a:spcAft>
              <a:buClrTx/>
              <a:buSzTx/>
              <a:buFont typeface="+mj-lt"/>
              <a:buAutoNum type="arabicPeriod"/>
              <a:defRPr/>
            </a:pPr>
            <a:r>
              <a:rPr kumimoji="0" lang="en-US"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Business</a:t>
            </a:r>
            <a:r>
              <a:rPr lang="en-US" dirty="0">
                <a:solidFill>
                  <a:prstClr val="white"/>
                </a:solidFill>
                <a:latin typeface="Open Sans" panose="020B0606030504020204" pitchFamily="34" charset="0"/>
              </a:rPr>
              <a:t>s Recommendat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09"/>
        <p:cNvGrpSpPr/>
        <p:nvPr/>
      </p:nvGrpSpPr>
      <p:grpSpPr>
        <a:xfrm>
          <a:off x="0" y="0"/>
          <a:ext cx="0" cy="0"/>
          <a:chOff x="0" y="0"/>
          <a:chExt cx="0" cy="0"/>
        </a:xfrm>
      </p:grpSpPr>
      <p:sp>
        <p:nvSpPr>
          <p:cNvPr id="410" name="Google Shape;410;p38"/>
          <p:cNvSpPr txBox="1">
            <a:spLocks noGrp="1"/>
          </p:cNvSpPr>
          <p:nvPr>
            <p:ph type="title"/>
          </p:nvPr>
        </p:nvSpPr>
        <p:spPr>
          <a:xfrm>
            <a:off x="711198" y="478702"/>
            <a:ext cx="11012629" cy="713216"/>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700"/>
              <a:buFont typeface="Calibri"/>
              <a:buNone/>
            </a:pPr>
            <a:r>
              <a:rPr lang="en-US" sz="2800" b="1" dirty="0">
                <a:solidFill>
                  <a:schemeClr val="dk1"/>
                </a:solidFill>
                <a:latin typeface="+mn-lt"/>
                <a:ea typeface="Calibri"/>
                <a:cs typeface="Arial" panose="020B0604020202020204" pitchFamily="34" charset="0"/>
                <a:sym typeface="Calibri"/>
              </a:rPr>
              <a:t>Clustering</a:t>
            </a:r>
            <a:br>
              <a:rPr lang="en-US" sz="2800" b="1" dirty="0">
                <a:solidFill>
                  <a:schemeClr val="dk1"/>
                </a:solidFill>
                <a:latin typeface="+mn-lt"/>
                <a:ea typeface="Calibri"/>
                <a:cs typeface="Arial" panose="020B0604020202020204" pitchFamily="34" charset="0"/>
                <a:sym typeface="Calibri"/>
              </a:rPr>
            </a:br>
            <a:r>
              <a:rPr lang="en-US" sz="2800" b="1" dirty="0">
                <a:solidFill>
                  <a:srgbClr val="0070C0"/>
                </a:solidFill>
                <a:latin typeface="+mn-lt"/>
                <a:ea typeface="Calibri"/>
                <a:cs typeface="Arial" panose="020B0604020202020204" pitchFamily="34" charset="0"/>
                <a:sym typeface="Calibri"/>
              </a:rPr>
              <a:t>(Hierarchical Method)</a:t>
            </a:r>
            <a:endParaRPr sz="2800" dirty="0">
              <a:latin typeface="+mn-lt"/>
              <a:cs typeface="Arial" panose="020B0604020202020204" pitchFamily="34" charset="0"/>
            </a:endParaRPr>
          </a:p>
        </p:txBody>
      </p:sp>
      <p:sp>
        <p:nvSpPr>
          <p:cNvPr id="411" name="Google Shape;411;p38"/>
          <p:cNvSpPr txBox="1"/>
          <p:nvPr/>
        </p:nvSpPr>
        <p:spPr>
          <a:xfrm>
            <a:off x="507997" y="1513538"/>
            <a:ext cx="5669581" cy="4734862"/>
          </a:xfrm>
          <a:prstGeom prst="rect">
            <a:avLst/>
          </a:prstGeom>
          <a:noFill/>
          <a:ln>
            <a:noFill/>
          </a:ln>
        </p:spPr>
        <p:txBody>
          <a:bodyPr spcFirstLastPara="1" wrap="square" lIns="91425" tIns="45700" rIns="91425" bIns="45700" anchor="t" anchorCtr="0">
            <a:normAutofit/>
          </a:bodyPr>
          <a:lstStyle/>
          <a:p>
            <a:pPr marL="285750" marR="0" lvl="0" indent="-285750" algn="l" rtl="0">
              <a:lnSpc>
                <a:spcPct val="90000"/>
              </a:lnSpc>
              <a:spcBef>
                <a:spcPts val="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Applied Agglomerative Clustering technique - initially each data point is considered as an individual cluster. At each iteration, the similar clusters merge with other clusters until one cluster or K clusters are formed.</a:t>
            </a:r>
            <a:endParaRPr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rgbClr val="262626"/>
              </a:buClr>
              <a:buSzPts val="1600"/>
              <a:buFont typeface="Arial"/>
              <a:buChar char="•"/>
            </a:pPr>
            <a:r>
              <a:rPr lang="en-US" sz="1400" dirty="0">
                <a:solidFill>
                  <a:srgbClr val="262626"/>
                </a:solidFill>
                <a:latin typeface="Arial" panose="020B0604020202020204" pitchFamily="34" charset="0"/>
                <a:ea typeface="Calibri"/>
                <a:cs typeface="Arial" panose="020B0604020202020204" pitchFamily="34" charset="0"/>
                <a:sym typeface="Calibri"/>
              </a:rPr>
              <a:t>This technique can be visualized using a </a:t>
            </a:r>
            <a:r>
              <a:rPr lang="en-US" sz="1400" b="1" dirty="0">
                <a:solidFill>
                  <a:srgbClr val="262626"/>
                </a:solidFill>
                <a:latin typeface="Arial" panose="020B0604020202020204" pitchFamily="34" charset="0"/>
                <a:ea typeface="Calibri"/>
                <a:cs typeface="Arial" panose="020B0604020202020204" pitchFamily="34" charset="0"/>
                <a:sym typeface="Source Serif Pro"/>
              </a:rPr>
              <a:t>Dendrogram</a:t>
            </a:r>
            <a:r>
              <a:rPr lang="en-US" sz="1400" b="1" dirty="0">
                <a:solidFill>
                  <a:srgbClr val="262626"/>
                </a:solidFill>
                <a:latin typeface="Arial" panose="020B0604020202020204" pitchFamily="34" charset="0"/>
                <a:ea typeface="Source Serif Pro"/>
                <a:cs typeface="Arial" panose="020B0604020202020204" pitchFamily="34" charset="0"/>
                <a:sym typeface="Source Serif Pro"/>
              </a:rPr>
              <a:t> - </a:t>
            </a:r>
            <a:r>
              <a:rPr lang="en-US" sz="1400" dirty="0">
                <a:solidFill>
                  <a:schemeClr val="dk1"/>
                </a:solidFill>
                <a:latin typeface="Arial" panose="020B0604020202020204" pitchFamily="34" charset="0"/>
                <a:ea typeface="Calibri"/>
                <a:cs typeface="Arial" panose="020B0604020202020204" pitchFamily="34" charset="0"/>
                <a:sym typeface="Calibri"/>
              </a:rPr>
              <a:t>a tree-like diagram that records the sequences of merges or splits. </a:t>
            </a:r>
            <a:endParaRPr sz="1400" dirty="0">
              <a:solidFill>
                <a:schemeClr val="dk1"/>
              </a:solidFill>
              <a:latin typeface="Arial" panose="020B0604020202020204" pitchFamily="34" charset="0"/>
              <a:ea typeface="Source Serif Pro"/>
              <a:cs typeface="Arial" panose="020B0604020202020204" pitchFamily="34" charset="0"/>
              <a:sym typeface="Source Serif Pro"/>
            </a:endParaRPr>
          </a:p>
          <a:p>
            <a:pPr marL="285750" marR="0" lvl="0" indent="-285750" algn="l" rtl="0">
              <a:lnSpc>
                <a:spcPct val="90000"/>
              </a:lnSpc>
              <a:spcBef>
                <a:spcPts val="1000"/>
              </a:spcBef>
              <a:spcAft>
                <a:spcPts val="0"/>
              </a:spcAft>
              <a:buClr>
                <a:srgbClr val="262626"/>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Selected number of clusters = 3</a:t>
            </a:r>
            <a:endParaRPr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endParaRPr lang="en-US"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endParaRPr lang="en-US"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Evaluation metric considered - Silhouette Coefficient = 0.361</a:t>
            </a:r>
            <a:endParaRPr sz="1400" dirty="0">
              <a:solidFill>
                <a:schemeClr val="dk1"/>
              </a:solidFill>
              <a:latin typeface="Arial" panose="020B0604020202020204" pitchFamily="34" charset="0"/>
              <a:ea typeface="Calibri"/>
              <a:cs typeface="Arial" panose="020B0604020202020204" pitchFamily="34" charset="0"/>
              <a:sym typeface="Calibri"/>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The clusters formed distinctly had the following features</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0 (blue): High operating margin whereas the other features are trending comparatively low</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1 (red): High operating margin whereas the other features are trending comparatively low </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2 (green): Similar characteristics as cluster 1 but the averages for the features are significantly low</a:t>
            </a:r>
            <a:endParaRPr sz="1400" dirty="0">
              <a:latin typeface="Arial" panose="020B0604020202020204" pitchFamily="34" charset="0"/>
              <a:cs typeface="Arial" panose="020B0604020202020204" pitchFamily="34" charset="0"/>
            </a:endParaRPr>
          </a:p>
        </p:txBody>
      </p:sp>
      <p:pic>
        <p:nvPicPr>
          <p:cNvPr id="413" name="Google Shape;413;p38"/>
          <p:cNvPicPr preferRelativeResize="0"/>
          <p:nvPr/>
        </p:nvPicPr>
        <p:blipFill rotWithShape="1">
          <a:blip r:embed="rId3">
            <a:alphaModFix/>
          </a:blip>
          <a:srcRect/>
          <a:stretch/>
        </p:blipFill>
        <p:spPr>
          <a:xfrm>
            <a:off x="7026981" y="843280"/>
            <a:ext cx="4453820" cy="2509223"/>
          </a:xfrm>
          <a:prstGeom prst="rect">
            <a:avLst/>
          </a:prstGeom>
          <a:noFill/>
          <a:ln>
            <a:noFill/>
          </a:ln>
        </p:spPr>
      </p:pic>
      <p:pic>
        <p:nvPicPr>
          <p:cNvPr id="6" name="Picture 5">
            <a:extLst>
              <a:ext uri="{FF2B5EF4-FFF2-40B4-BE49-F238E27FC236}">
                <a16:creationId xmlns:a16="http://schemas.microsoft.com/office/drawing/2014/main" id="{95FCB23C-61FD-3AF8-39C9-B2FF7B0C0A21}"/>
              </a:ext>
            </a:extLst>
          </p:cNvPr>
          <p:cNvPicPr>
            <a:picLocks noChangeAspect="1"/>
          </p:cNvPicPr>
          <p:nvPr/>
        </p:nvPicPr>
        <p:blipFill rotWithShape="1">
          <a:blip r:embed="rId4">
            <a:extLst>
              <a:ext uri="{28A0092B-C50C-407E-A947-70E740481C1C}">
                <a14:useLocalDpi xmlns:a14="http://schemas.microsoft.com/office/drawing/2010/main" val="0"/>
              </a:ext>
            </a:extLst>
          </a:blip>
          <a:srcRect l="11765" t="5899" b="13967"/>
          <a:stretch/>
        </p:blipFill>
        <p:spPr>
          <a:xfrm>
            <a:off x="6986340" y="3392533"/>
            <a:ext cx="5063421" cy="3079387"/>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sp>
        <p:nvSpPr>
          <p:cNvPr id="419" name="Google Shape;419;p39"/>
          <p:cNvSpPr txBox="1">
            <a:spLocks noGrp="1"/>
          </p:cNvSpPr>
          <p:nvPr>
            <p:ph type="title"/>
          </p:nvPr>
        </p:nvSpPr>
        <p:spPr>
          <a:xfrm>
            <a:off x="637952" y="478702"/>
            <a:ext cx="11085875" cy="713216"/>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ct val="100000"/>
              <a:buFont typeface="Calibri"/>
              <a:buNone/>
            </a:pPr>
            <a:r>
              <a:rPr lang="en-US" sz="2800" b="1" dirty="0">
                <a:solidFill>
                  <a:schemeClr val="dk1"/>
                </a:solidFill>
                <a:latin typeface="+mn-lt"/>
                <a:ea typeface="Calibri"/>
                <a:cs typeface="Arial" panose="020B0604020202020204" pitchFamily="34" charset="0"/>
                <a:sym typeface="Calibri"/>
              </a:rPr>
              <a:t>Clustering</a:t>
            </a:r>
            <a:br>
              <a:rPr lang="en-US" sz="2800" b="1" dirty="0">
                <a:solidFill>
                  <a:schemeClr val="dk1"/>
                </a:solidFill>
                <a:latin typeface="+mn-lt"/>
                <a:ea typeface="Calibri"/>
                <a:cs typeface="Arial" panose="020B0604020202020204" pitchFamily="34" charset="0"/>
                <a:sym typeface="Calibri"/>
              </a:rPr>
            </a:br>
            <a:r>
              <a:rPr lang="en-US" sz="2800" b="1" dirty="0">
                <a:solidFill>
                  <a:srgbClr val="0070C0"/>
                </a:solidFill>
                <a:latin typeface="+mn-lt"/>
                <a:ea typeface="Calibri"/>
                <a:cs typeface="Arial" panose="020B0604020202020204" pitchFamily="34" charset="0"/>
                <a:sym typeface="Calibri"/>
              </a:rPr>
              <a:t>(DBSCAN)</a:t>
            </a:r>
            <a:endParaRPr sz="2800" dirty="0">
              <a:latin typeface="+mn-lt"/>
              <a:cs typeface="Arial" panose="020B0604020202020204" pitchFamily="34" charset="0"/>
            </a:endParaRPr>
          </a:p>
        </p:txBody>
      </p:sp>
      <p:sp>
        <p:nvSpPr>
          <p:cNvPr id="420" name="Google Shape;420;p39"/>
          <p:cNvSpPr txBox="1"/>
          <p:nvPr/>
        </p:nvSpPr>
        <p:spPr>
          <a:xfrm>
            <a:off x="508000" y="1563301"/>
            <a:ext cx="7051040" cy="2573051"/>
          </a:xfrm>
          <a:prstGeom prst="rect">
            <a:avLst/>
          </a:prstGeom>
          <a:noFill/>
          <a:ln>
            <a:noFill/>
          </a:ln>
        </p:spPr>
        <p:txBody>
          <a:bodyPr spcFirstLastPara="1" wrap="square" lIns="91425" tIns="45700" rIns="91425" bIns="45700" anchor="t" anchorCtr="0">
            <a:noAutofit/>
          </a:bodyPr>
          <a:lstStyle/>
          <a:p>
            <a:pPr marL="285750" marR="0" lvl="0" indent="-285750" algn="l" rtl="0">
              <a:lnSpc>
                <a:spcPct val="90000"/>
              </a:lnSpc>
              <a:spcBef>
                <a:spcPts val="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DBSCAN is a density-based clustering algorithm - works on the assumption that clusters are dense regions in space separated by regions of lower density.</a:t>
            </a:r>
            <a:endParaRPr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The key parameters:</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Arial"/>
              <a:buChar char="•"/>
            </a:pPr>
            <a:r>
              <a:rPr lang="en-US" sz="1400" b="0" i="0" strike="noStrike" cap="none" dirty="0">
                <a:solidFill>
                  <a:schemeClr val="dk1"/>
                </a:solidFill>
                <a:latin typeface="Arial" panose="020B0604020202020204" pitchFamily="34" charset="0"/>
                <a:ea typeface="Calibri"/>
                <a:cs typeface="Arial" panose="020B0604020202020204" pitchFamily="34" charset="0"/>
                <a:sym typeface="Calibri"/>
              </a:rPr>
              <a:t>Minimum samples (“</a:t>
            </a:r>
            <a:r>
              <a:rPr lang="en-US" sz="1400" b="0" i="0" strike="noStrike" cap="none" dirty="0" err="1">
                <a:solidFill>
                  <a:schemeClr val="dk1"/>
                </a:solidFill>
                <a:latin typeface="Arial" panose="020B0604020202020204" pitchFamily="34" charset="0"/>
                <a:ea typeface="Calibri"/>
                <a:cs typeface="Arial" panose="020B0604020202020204" pitchFamily="34" charset="0"/>
                <a:sym typeface="Calibri"/>
              </a:rPr>
              <a:t>MinPts</a:t>
            </a:r>
            <a:r>
              <a:rPr lang="en-US" sz="1400" b="0" i="0" strike="noStrike" cap="none" dirty="0">
                <a:solidFill>
                  <a:schemeClr val="dk1"/>
                </a:solidFill>
                <a:latin typeface="Arial" panose="020B0604020202020204" pitchFamily="34" charset="0"/>
                <a:ea typeface="Calibri"/>
                <a:cs typeface="Arial" panose="020B0604020202020204" pitchFamily="34" charset="0"/>
                <a:sym typeface="Calibri"/>
              </a:rPr>
              <a:t>”): </a:t>
            </a: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the minimum number of points required to form a cluster.</a:t>
            </a:r>
            <a:endParaRPr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Arial"/>
              <a:buChar char="•"/>
            </a:pPr>
            <a:r>
              <a:rPr lang="en-US" sz="1400" b="0" i="0" strike="noStrike" cap="none" dirty="0">
                <a:solidFill>
                  <a:schemeClr val="dk1"/>
                </a:solidFill>
                <a:latin typeface="Arial" panose="020B0604020202020204" pitchFamily="34" charset="0"/>
                <a:ea typeface="Calibri"/>
                <a:cs typeface="Arial" panose="020B0604020202020204" pitchFamily="34" charset="0"/>
                <a:sym typeface="Calibri"/>
              </a:rPr>
              <a:t>ε (epsilon or “eps”): </a:t>
            </a: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the maximum distance two points can be from one another while still belonging to the same cluster.</a:t>
            </a:r>
            <a:endParaRPr sz="1400" dirty="0">
              <a:latin typeface="Arial" panose="020B0604020202020204" pitchFamily="34" charset="0"/>
              <a:cs typeface="Arial" panose="020B0604020202020204" pitchFamily="34" charset="0"/>
            </a:endParaRPr>
          </a:p>
          <a:p>
            <a:pPr marL="1143000" marR="0" lvl="2" indent="-228600" algn="l" rtl="0">
              <a:lnSpc>
                <a:spcPct val="90000"/>
              </a:lnSpc>
              <a:spcBef>
                <a:spcPts val="500"/>
              </a:spcBef>
              <a:spcAft>
                <a:spcPts val="0"/>
              </a:spcAft>
              <a:buClr>
                <a:schemeClr val="dk1"/>
              </a:buClr>
              <a:buSzPts val="1600"/>
              <a:buFont typeface="Arial"/>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For optimal value calculated k-nearest neighbor (</a:t>
            </a:r>
            <a:r>
              <a:rPr lang="en-US" sz="1400" b="0" i="0" u="none" strike="noStrike" cap="none" dirty="0" err="1">
                <a:solidFill>
                  <a:schemeClr val="dk1"/>
                </a:solidFill>
                <a:latin typeface="Arial" panose="020B0604020202020204" pitchFamily="34" charset="0"/>
                <a:ea typeface="Calibri"/>
                <a:cs typeface="Arial" panose="020B0604020202020204" pitchFamily="34" charset="0"/>
                <a:sym typeface="Calibri"/>
              </a:rPr>
              <a:t>kNN</a:t>
            </a: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 distances – got the knee at 1.28</a:t>
            </a:r>
          </a:p>
        </p:txBody>
      </p:sp>
      <p:pic>
        <p:nvPicPr>
          <p:cNvPr id="421" name="Google Shape;421;p39"/>
          <p:cNvPicPr preferRelativeResize="0"/>
          <p:nvPr/>
        </p:nvPicPr>
        <p:blipFill rotWithShape="1">
          <a:blip r:embed="rId3">
            <a:alphaModFix/>
          </a:blip>
          <a:srcRect l="5409" r="4658" b="2564"/>
          <a:stretch/>
        </p:blipFill>
        <p:spPr>
          <a:xfrm>
            <a:off x="8534467" y="1015999"/>
            <a:ext cx="2478973" cy="2270819"/>
          </a:xfrm>
          <a:prstGeom prst="rect">
            <a:avLst/>
          </a:prstGeom>
          <a:noFill/>
          <a:ln>
            <a:noFill/>
          </a:ln>
        </p:spPr>
      </p:pic>
      <p:sp>
        <p:nvSpPr>
          <p:cNvPr id="4" name="Google Shape;420;p39">
            <a:extLst>
              <a:ext uri="{FF2B5EF4-FFF2-40B4-BE49-F238E27FC236}">
                <a16:creationId xmlns:a16="http://schemas.microsoft.com/office/drawing/2014/main" id="{955D40C9-91E9-E9F2-AC97-FDBBA698184D}"/>
              </a:ext>
            </a:extLst>
          </p:cNvPr>
          <p:cNvSpPr txBox="1"/>
          <p:nvPr/>
        </p:nvSpPr>
        <p:spPr>
          <a:xfrm>
            <a:off x="549237" y="3759515"/>
            <a:ext cx="7196264" cy="2495699"/>
          </a:xfrm>
          <a:prstGeom prst="rect">
            <a:avLst/>
          </a:prstGeom>
          <a:noFill/>
          <a:ln>
            <a:noFill/>
          </a:ln>
        </p:spPr>
        <p:txBody>
          <a:bodyPr spcFirstLastPara="1" wrap="square" lIns="91425" tIns="45700" rIns="91425" bIns="45700" anchor="t" anchorCtr="0">
            <a:noAutofit/>
          </a:bodyPr>
          <a:lstStyle/>
          <a:p>
            <a:pPr marL="285750" marR="0" lvl="0" indent="-285750" algn="l" rtl="0">
              <a:lnSpc>
                <a:spcPct val="90000"/>
              </a:lnSpc>
              <a:spcBef>
                <a:spcPts val="1000"/>
              </a:spcBef>
              <a:spcAft>
                <a:spcPts val="0"/>
              </a:spcAft>
              <a:buClr>
                <a:schemeClr val="dk1"/>
              </a:buClr>
              <a:buSzPts val="1600"/>
              <a:buFont typeface="Arial" panose="020B0604020202020204" pitchFamily="34" charset="0"/>
              <a:buChar char="•"/>
            </a:pPr>
            <a:r>
              <a:rPr lang="en-US" sz="1400" dirty="0">
                <a:solidFill>
                  <a:schemeClr val="dk1"/>
                </a:solidFill>
                <a:latin typeface="Arial" panose="020B0604020202020204" pitchFamily="34" charset="0"/>
                <a:ea typeface="Calibri"/>
                <a:cs typeface="Arial" panose="020B0604020202020204" pitchFamily="34" charset="0"/>
                <a:sym typeface="Calibri"/>
              </a:rPr>
              <a:t>With eps = 1.23 and minimum samples = 10, got 2 clusters with one as noise(-1,0). For attaining 3 clusters – eps = 0.55, minimum samples = 20</a:t>
            </a: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Evaluation metric considered - Silhouette Coefficient = 0.383</a:t>
            </a:r>
            <a:endParaRPr lang="en-US" sz="1400" dirty="0">
              <a:latin typeface="Arial" panose="020B0604020202020204" pitchFamily="34" charset="0"/>
              <a:cs typeface="Arial" panose="020B0604020202020204" pitchFamily="34" charset="0"/>
            </a:endParaRPr>
          </a:p>
          <a:p>
            <a:pPr marL="285750" marR="0" lvl="0" indent="-285750" algn="l" rtl="0">
              <a:lnSpc>
                <a:spcPct val="90000"/>
              </a:lnSpc>
              <a:spcBef>
                <a:spcPts val="1000"/>
              </a:spcBef>
              <a:spcAft>
                <a:spcPts val="0"/>
              </a:spcAft>
              <a:buClr>
                <a:schemeClr val="dk1"/>
              </a:buClr>
              <a:buSzPts val="1600"/>
              <a:buFont typeface="Arial"/>
              <a:buChar char="•"/>
            </a:pPr>
            <a:r>
              <a:rPr lang="en-US" sz="1400" dirty="0">
                <a:solidFill>
                  <a:schemeClr val="dk1"/>
                </a:solidFill>
                <a:latin typeface="Arial" panose="020B0604020202020204" pitchFamily="34" charset="0"/>
                <a:ea typeface="Calibri"/>
                <a:cs typeface="Arial" panose="020B0604020202020204" pitchFamily="34" charset="0"/>
                <a:sym typeface="Calibri"/>
              </a:rPr>
              <a:t>The clusters formed distinctly had the following features</a:t>
            </a:r>
            <a:endParaRPr lang="en-US"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1 (blue): Low operating margin in comparison to the other features that are trending </a:t>
            </a:r>
            <a:r>
              <a:rPr lang="en-US" sz="1400" dirty="0">
                <a:solidFill>
                  <a:schemeClr val="dk1"/>
                </a:solidFill>
                <a:latin typeface="Arial" panose="020B0604020202020204" pitchFamily="34" charset="0"/>
                <a:ea typeface="Calibri"/>
                <a:cs typeface="Arial" panose="020B0604020202020204" pitchFamily="34" charset="0"/>
                <a:sym typeface="Calibri"/>
              </a:rPr>
              <a:t>h</a:t>
            </a: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igh</a:t>
            </a: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0 (red):  Highest operating margin and similar levels other features </a:t>
            </a:r>
            <a:endParaRPr lang="en-US" sz="1400" dirty="0">
              <a:latin typeface="Arial" panose="020B0604020202020204" pitchFamily="34" charset="0"/>
              <a:cs typeface="Arial" panose="020B0604020202020204" pitchFamily="34" charset="0"/>
            </a:endParaRPr>
          </a:p>
          <a:p>
            <a:pPr marL="685800" marR="0" lvl="1" indent="-228600" algn="l" rtl="0">
              <a:lnSpc>
                <a:spcPct val="90000"/>
              </a:lnSpc>
              <a:spcBef>
                <a:spcPts val="500"/>
              </a:spcBef>
              <a:spcAft>
                <a:spcPts val="0"/>
              </a:spcAft>
              <a:buClr>
                <a:schemeClr val="dk1"/>
              </a:buClr>
              <a:buSzPts val="1600"/>
              <a:buFont typeface="Calibri"/>
              <a:buChar char="•"/>
            </a:pPr>
            <a:r>
              <a:rPr lang="en-US" sz="1400" b="0" i="0" u="none" strike="noStrike" cap="none" dirty="0">
                <a:solidFill>
                  <a:schemeClr val="dk1"/>
                </a:solidFill>
                <a:latin typeface="Arial" panose="020B0604020202020204" pitchFamily="34" charset="0"/>
                <a:ea typeface="Calibri"/>
                <a:cs typeface="Arial" panose="020B0604020202020204" pitchFamily="34" charset="0"/>
                <a:sym typeface="Calibri"/>
              </a:rPr>
              <a:t>Cluster 1 (green): Lowest operating margin, highest units sold with other features trending high</a:t>
            </a:r>
          </a:p>
        </p:txBody>
      </p:sp>
      <p:pic>
        <p:nvPicPr>
          <p:cNvPr id="3" name="Picture 2">
            <a:extLst>
              <a:ext uri="{FF2B5EF4-FFF2-40B4-BE49-F238E27FC236}">
                <a16:creationId xmlns:a16="http://schemas.microsoft.com/office/drawing/2014/main" id="{F26BB48C-0EC4-ADE3-FC8E-61FBDD8606CC}"/>
              </a:ext>
            </a:extLst>
          </p:cNvPr>
          <p:cNvPicPr>
            <a:picLocks noChangeAspect="1"/>
          </p:cNvPicPr>
          <p:nvPr/>
        </p:nvPicPr>
        <p:blipFill rotWithShape="1">
          <a:blip r:embed="rId4">
            <a:extLst>
              <a:ext uri="{28A0092B-C50C-407E-A947-70E740481C1C}">
                <a14:useLocalDpi xmlns:a14="http://schemas.microsoft.com/office/drawing/2010/main" val="0"/>
              </a:ext>
            </a:extLst>
          </a:blip>
          <a:srcRect l="11404" t="6706" b="13966"/>
          <a:stretch/>
        </p:blipFill>
        <p:spPr>
          <a:xfrm>
            <a:off x="7745501" y="3702525"/>
            <a:ext cx="4446499" cy="2666092"/>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32"/>
        <p:cNvGrpSpPr/>
        <p:nvPr/>
      </p:nvGrpSpPr>
      <p:grpSpPr>
        <a:xfrm>
          <a:off x="0" y="0"/>
          <a:ext cx="0" cy="0"/>
          <a:chOff x="0" y="0"/>
          <a:chExt cx="0" cy="0"/>
        </a:xfrm>
      </p:grpSpPr>
      <p:sp>
        <p:nvSpPr>
          <p:cNvPr id="433" name="Google Shape;433;p41"/>
          <p:cNvSpPr txBox="1"/>
          <p:nvPr/>
        </p:nvSpPr>
        <p:spPr>
          <a:xfrm>
            <a:off x="506203" y="927886"/>
            <a:ext cx="1303327" cy="2743199"/>
          </a:xfrm>
          <a:prstGeom prst="rect">
            <a:avLst/>
          </a:prstGeom>
          <a:solidFill>
            <a:srgbClr val="00B0F0"/>
          </a:soli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600"/>
              <a:buFont typeface="Century Gothic"/>
              <a:buNone/>
            </a:pPr>
            <a:r>
              <a:rPr lang="en-US" sz="1600" dirty="0">
                <a:solidFill>
                  <a:srgbClr val="000000"/>
                </a:solidFill>
                <a:latin typeface="Arial" panose="020B0604020202020204" pitchFamily="34" charset="0"/>
                <a:ea typeface="Century Gothic"/>
                <a:cs typeface="Arial" panose="020B0604020202020204" pitchFamily="34" charset="0"/>
                <a:sym typeface="Century Gothic"/>
              </a:rPr>
              <a:t>K-Means</a:t>
            </a:r>
            <a:endParaRPr dirty="0">
              <a:latin typeface="Arial" panose="020B0604020202020204" pitchFamily="34" charset="0"/>
              <a:cs typeface="Arial" panose="020B0604020202020204" pitchFamily="34" charset="0"/>
            </a:endParaRPr>
          </a:p>
        </p:txBody>
      </p:sp>
      <p:sp>
        <p:nvSpPr>
          <p:cNvPr id="434" name="Google Shape;434;p41"/>
          <p:cNvSpPr txBox="1"/>
          <p:nvPr/>
        </p:nvSpPr>
        <p:spPr>
          <a:xfrm>
            <a:off x="6289964" y="927887"/>
            <a:ext cx="1314486" cy="2743200"/>
          </a:xfrm>
          <a:prstGeom prst="rect">
            <a:avLst/>
          </a:prstGeom>
          <a:solidFill>
            <a:srgbClr val="8DA9DB"/>
          </a:soli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600"/>
              <a:buFont typeface="Century Gothic"/>
              <a:buNone/>
            </a:pPr>
            <a:r>
              <a:rPr lang="en-US" sz="1600">
                <a:solidFill>
                  <a:srgbClr val="000000"/>
                </a:solidFill>
                <a:latin typeface="Arial" panose="020B0604020202020204" pitchFamily="34" charset="0"/>
                <a:ea typeface="Century Gothic"/>
                <a:cs typeface="Arial" panose="020B0604020202020204" pitchFamily="34" charset="0"/>
                <a:sym typeface="Century Gothic"/>
              </a:rPr>
              <a:t>K-Prototype Clustering</a:t>
            </a:r>
            <a:endParaRPr>
              <a:latin typeface="Arial" panose="020B0604020202020204" pitchFamily="34" charset="0"/>
              <a:cs typeface="Arial" panose="020B0604020202020204" pitchFamily="34" charset="0"/>
            </a:endParaRPr>
          </a:p>
        </p:txBody>
      </p:sp>
      <p:sp>
        <p:nvSpPr>
          <p:cNvPr id="435" name="Google Shape;435;p41"/>
          <p:cNvSpPr txBox="1"/>
          <p:nvPr/>
        </p:nvSpPr>
        <p:spPr>
          <a:xfrm>
            <a:off x="506203" y="7583"/>
            <a:ext cx="10907468" cy="1006929"/>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chemeClr val="dk1"/>
              </a:buClr>
              <a:buSzPts val="3200"/>
              <a:buFont typeface="Calibri"/>
              <a:buNone/>
            </a:pPr>
            <a:r>
              <a:rPr lang="en-US" sz="2800" b="1" dirty="0">
                <a:latin typeface="Arial" panose="020B0604020202020204" pitchFamily="34" charset="0"/>
                <a:ea typeface="Calibri"/>
                <a:cs typeface="Arial" panose="020B0604020202020204" pitchFamily="34" charset="0"/>
                <a:sym typeface="Calibri"/>
              </a:rPr>
              <a:t>Summary of Clustering Techniques Selected</a:t>
            </a:r>
            <a:endParaRPr sz="2800" b="1" dirty="0">
              <a:latin typeface="Arial" panose="020B0604020202020204" pitchFamily="34" charset="0"/>
              <a:ea typeface="Calibri"/>
              <a:cs typeface="Arial" panose="020B0604020202020204" pitchFamily="34" charset="0"/>
              <a:sym typeface="Calibri"/>
            </a:endParaRPr>
          </a:p>
        </p:txBody>
      </p:sp>
      <p:sp>
        <p:nvSpPr>
          <p:cNvPr id="438" name="Google Shape;438;p41"/>
          <p:cNvSpPr txBox="1"/>
          <p:nvPr/>
        </p:nvSpPr>
        <p:spPr>
          <a:xfrm>
            <a:off x="506203" y="3707835"/>
            <a:ext cx="1303327" cy="2743199"/>
          </a:xfrm>
          <a:prstGeom prst="rect">
            <a:avLst/>
          </a:prstGeom>
          <a:solidFill>
            <a:srgbClr val="8DA9DB"/>
          </a:solidFill>
          <a:ln>
            <a:noFill/>
          </a:ln>
        </p:spPr>
        <p:txBody>
          <a:bodyPr spcFirstLastPara="1" wrap="square" lIns="91425" tIns="45700" rIns="91425" bIns="45700" anchor="ctr" anchorCtr="0">
            <a:normAutofit/>
          </a:bodyPr>
          <a:lstStyle/>
          <a:p>
            <a:pPr marL="0" marR="0" lvl="0" indent="0" algn="ctr" rtl="0">
              <a:lnSpc>
                <a:spcPct val="90000"/>
              </a:lnSpc>
              <a:spcBef>
                <a:spcPts val="0"/>
              </a:spcBef>
              <a:spcAft>
                <a:spcPts val="0"/>
              </a:spcAft>
              <a:buClr>
                <a:schemeClr val="dk1"/>
              </a:buClr>
              <a:buSzPts val="1600"/>
              <a:buFont typeface="Avenir"/>
              <a:buNone/>
            </a:pPr>
            <a:r>
              <a:rPr lang="en-US" sz="1600" dirty="0">
                <a:solidFill>
                  <a:schemeClr val="dk1"/>
                </a:solidFill>
                <a:latin typeface="Arial" panose="020B0604020202020204" pitchFamily="34" charset="0"/>
                <a:ea typeface="Avenir"/>
                <a:cs typeface="Arial" panose="020B0604020202020204" pitchFamily="34" charset="0"/>
                <a:sym typeface="Avenir"/>
              </a:rPr>
              <a:t>Hierarchical</a:t>
            </a:r>
            <a:endParaRPr dirty="0">
              <a:latin typeface="Arial" panose="020B0604020202020204" pitchFamily="34" charset="0"/>
              <a:cs typeface="Arial" panose="020B0604020202020204" pitchFamily="34" charset="0"/>
            </a:endParaRPr>
          </a:p>
          <a:p>
            <a:pPr marL="0" marR="0" lvl="0" indent="0" algn="ctr" rtl="0">
              <a:lnSpc>
                <a:spcPct val="90000"/>
              </a:lnSpc>
              <a:spcBef>
                <a:spcPts val="1000"/>
              </a:spcBef>
              <a:spcAft>
                <a:spcPts val="0"/>
              </a:spcAft>
              <a:buClr>
                <a:schemeClr val="dk1"/>
              </a:buClr>
              <a:buSzPts val="1600"/>
              <a:buFont typeface="Avenir"/>
              <a:buNone/>
            </a:pPr>
            <a:r>
              <a:rPr lang="en-US" sz="1600" dirty="0">
                <a:solidFill>
                  <a:schemeClr val="dk1"/>
                </a:solidFill>
                <a:latin typeface="Arial" panose="020B0604020202020204" pitchFamily="34" charset="0"/>
                <a:ea typeface="Avenir"/>
                <a:cs typeface="Arial" panose="020B0604020202020204" pitchFamily="34" charset="0"/>
                <a:sym typeface="Avenir"/>
              </a:rPr>
              <a:t>Clustering</a:t>
            </a:r>
            <a:endParaRPr dirty="0">
              <a:latin typeface="Arial" panose="020B0604020202020204" pitchFamily="34" charset="0"/>
              <a:cs typeface="Arial" panose="020B0604020202020204" pitchFamily="34" charset="0"/>
            </a:endParaRPr>
          </a:p>
        </p:txBody>
      </p:sp>
      <p:sp>
        <p:nvSpPr>
          <p:cNvPr id="439" name="Google Shape;439;p41"/>
          <p:cNvSpPr txBox="1"/>
          <p:nvPr/>
        </p:nvSpPr>
        <p:spPr>
          <a:xfrm>
            <a:off x="6289964" y="3707836"/>
            <a:ext cx="1314486" cy="2743200"/>
          </a:xfrm>
          <a:prstGeom prst="rect">
            <a:avLst/>
          </a:prstGeom>
          <a:solidFill>
            <a:srgbClr val="8DA9DB"/>
          </a:solidFill>
          <a:ln>
            <a:noFill/>
          </a:ln>
        </p:spPr>
        <p:txBody>
          <a:bodyPr spcFirstLastPara="1" wrap="square" lIns="91425" tIns="45700" rIns="91425" bIns="45700" anchor="ctr" anchorCtr="0">
            <a:normAutofit/>
          </a:bodyPr>
          <a:lstStyle/>
          <a:p>
            <a:pPr marL="0" marR="0" lvl="0" indent="0" algn="ctr" rtl="0">
              <a:lnSpc>
                <a:spcPct val="100000"/>
              </a:lnSpc>
              <a:spcBef>
                <a:spcPts val="0"/>
              </a:spcBef>
              <a:spcAft>
                <a:spcPts val="0"/>
              </a:spcAft>
              <a:buClr>
                <a:srgbClr val="000000"/>
              </a:buClr>
              <a:buSzPts val="1600"/>
              <a:buFont typeface="Century Gothic"/>
              <a:buNone/>
            </a:pPr>
            <a:r>
              <a:rPr lang="en-US" sz="1600">
                <a:solidFill>
                  <a:srgbClr val="000000"/>
                </a:solidFill>
                <a:latin typeface="Arial" panose="020B0604020202020204" pitchFamily="34" charset="0"/>
                <a:ea typeface="Century Gothic"/>
                <a:cs typeface="Arial" panose="020B0604020202020204" pitchFamily="34" charset="0"/>
                <a:sym typeface="Century Gothic"/>
              </a:rPr>
              <a:t>DBSCAN</a:t>
            </a:r>
            <a:endParaRPr>
              <a:latin typeface="Arial" panose="020B0604020202020204" pitchFamily="34" charset="0"/>
              <a:cs typeface="Arial" panose="020B0604020202020204" pitchFamily="34" charset="0"/>
            </a:endParaRPr>
          </a:p>
        </p:txBody>
      </p:sp>
      <p:pic>
        <p:nvPicPr>
          <p:cNvPr id="3" name="Picture 2" descr="Chart, radar chart&#10;&#10;Description automatically generated">
            <a:extLst>
              <a:ext uri="{FF2B5EF4-FFF2-40B4-BE49-F238E27FC236}">
                <a16:creationId xmlns:a16="http://schemas.microsoft.com/office/drawing/2014/main" id="{EC412B99-CB21-4216-89C4-A02C132BF3CA}"/>
              </a:ext>
            </a:extLst>
          </p:cNvPr>
          <p:cNvPicPr>
            <a:picLocks noChangeAspect="1"/>
          </p:cNvPicPr>
          <p:nvPr/>
        </p:nvPicPr>
        <p:blipFill rotWithShape="1">
          <a:blip r:embed="rId3">
            <a:extLst>
              <a:ext uri="{28A0092B-C50C-407E-A947-70E740481C1C}">
                <a14:useLocalDpi xmlns:a14="http://schemas.microsoft.com/office/drawing/2010/main" val="0"/>
              </a:ext>
            </a:extLst>
          </a:blip>
          <a:srcRect l="11100" t="4939" r="1312" b="11283"/>
          <a:stretch/>
        </p:blipFill>
        <p:spPr>
          <a:xfrm>
            <a:off x="1825867" y="933571"/>
            <a:ext cx="4270133" cy="2735077"/>
          </a:xfrm>
          <a:prstGeom prst="rect">
            <a:avLst/>
          </a:prstGeom>
          <a:ln>
            <a:solidFill>
              <a:schemeClr val="bg2"/>
            </a:solidFill>
          </a:ln>
        </p:spPr>
      </p:pic>
      <p:pic>
        <p:nvPicPr>
          <p:cNvPr id="5" name="Picture 4" descr="Chart, radar chart&#10;&#10;Description automatically generated">
            <a:extLst>
              <a:ext uri="{FF2B5EF4-FFF2-40B4-BE49-F238E27FC236}">
                <a16:creationId xmlns:a16="http://schemas.microsoft.com/office/drawing/2014/main" id="{6232EFB4-601D-48DA-9F4F-A4B32780D7CE}"/>
              </a:ext>
            </a:extLst>
          </p:cNvPr>
          <p:cNvPicPr>
            <a:picLocks noChangeAspect="1"/>
          </p:cNvPicPr>
          <p:nvPr/>
        </p:nvPicPr>
        <p:blipFill rotWithShape="1">
          <a:blip r:embed="rId4">
            <a:extLst>
              <a:ext uri="{28A0092B-C50C-407E-A947-70E740481C1C}">
                <a14:useLocalDpi xmlns:a14="http://schemas.microsoft.com/office/drawing/2010/main" val="0"/>
              </a:ext>
            </a:extLst>
          </a:blip>
          <a:srcRect l="11724" t="6432" r="812" b="12029"/>
          <a:stretch/>
        </p:blipFill>
        <p:spPr>
          <a:xfrm>
            <a:off x="1825867" y="3722912"/>
            <a:ext cx="4270134" cy="2665784"/>
          </a:xfrm>
          <a:prstGeom prst="rect">
            <a:avLst/>
          </a:prstGeom>
          <a:ln>
            <a:solidFill>
              <a:schemeClr val="bg2"/>
            </a:solidFill>
          </a:ln>
        </p:spPr>
      </p:pic>
      <p:pic>
        <p:nvPicPr>
          <p:cNvPr id="7" name="Picture 6" descr="Chart, radar chart&#10;&#10;Description automatically generated">
            <a:extLst>
              <a:ext uri="{FF2B5EF4-FFF2-40B4-BE49-F238E27FC236}">
                <a16:creationId xmlns:a16="http://schemas.microsoft.com/office/drawing/2014/main" id="{FFBE2573-6AD8-4C54-B99B-2FF8DF69E8AB}"/>
              </a:ext>
            </a:extLst>
          </p:cNvPr>
          <p:cNvPicPr>
            <a:picLocks noChangeAspect="1"/>
          </p:cNvPicPr>
          <p:nvPr/>
        </p:nvPicPr>
        <p:blipFill rotWithShape="1">
          <a:blip r:embed="rId5">
            <a:extLst>
              <a:ext uri="{28A0092B-C50C-407E-A947-70E740481C1C}">
                <a14:useLocalDpi xmlns:a14="http://schemas.microsoft.com/office/drawing/2010/main" val="0"/>
              </a:ext>
            </a:extLst>
          </a:blip>
          <a:srcRect l="11850" t="6805" r="812" b="12589"/>
          <a:stretch/>
        </p:blipFill>
        <p:spPr>
          <a:xfrm>
            <a:off x="7659377" y="933571"/>
            <a:ext cx="4425507" cy="2735077"/>
          </a:xfrm>
          <a:prstGeom prst="rect">
            <a:avLst/>
          </a:prstGeom>
          <a:ln>
            <a:solidFill>
              <a:schemeClr val="bg2"/>
            </a:solidFill>
          </a:ln>
        </p:spPr>
      </p:pic>
      <p:pic>
        <p:nvPicPr>
          <p:cNvPr id="9" name="Picture 8" descr="Chart, radar chart&#10;&#10;Description automatically generated">
            <a:extLst>
              <a:ext uri="{FF2B5EF4-FFF2-40B4-BE49-F238E27FC236}">
                <a16:creationId xmlns:a16="http://schemas.microsoft.com/office/drawing/2014/main" id="{4D90DEE2-B2F0-4D46-BBC4-56D1AEEE154C}"/>
              </a:ext>
            </a:extLst>
          </p:cNvPr>
          <p:cNvPicPr>
            <a:picLocks noChangeAspect="1"/>
          </p:cNvPicPr>
          <p:nvPr/>
        </p:nvPicPr>
        <p:blipFill rotWithShape="1">
          <a:blip r:embed="rId6">
            <a:extLst>
              <a:ext uri="{28A0092B-C50C-407E-A947-70E740481C1C}">
                <a14:useLocalDpi xmlns:a14="http://schemas.microsoft.com/office/drawing/2010/main" val="0"/>
              </a:ext>
            </a:extLst>
          </a:blip>
          <a:srcRect l="11724" t="6431" b="12962"/>
          <a:stretch/>
        </p:blipFill>
        <p:spPr>
          <a:xfrm>
            <a:off x="7637532" y="3722912"/>
            <a:ext cx="4425507" cy="2706044"/>
          </a:xfrm>
          <a:prstGeom prst="rect">
            <a:avLst/>
          </a:prstGeom>
          <a:ln>
            <a:solidFill>
              <a:schemeClr val="bg2"/>
            </a:solid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98F8585-3CED-43F6-B279-BD2219876E8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sp>
        <p:nvSpPr>
          <p:cNvPr id="6" name="Title 5">
            <a:extLst>
              <a:ext uri="{FF2B5EF4-FFF2-40B4-BE49-F238E27FC236}">
                <a16:creationId xmlns:a16="http://schemas.microsoft.com/office/drawing/2014/main" id="{DE09016C-ACD1-4DC4-B76C-75002A6935EA}"/>
              </a:ext>
            </a:extLst>
          </p:cNvPr>
          <p:cNvSpPr txBox="1">
            <a:spLocks/>
          </p:cNvSpPr>
          <p:nvPr/>
        </p:nvSpPr>
        <p:spPr>
          <a:xfrm>
            <a:off x="307027" y="1411036"/>
            <a:ext cx="4432925" cy="10335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marL="405079" lvl="1" algn="ctr" defTabSz="894091">
              <a:lnSpc>
                <a:spcPct val="114000"/>
              </a:lnSpc>
              <a:buClr>
                <a:srgbClr val="FFFFFF"/>
              </a:buClr>
              <a:buSzPct val="70000"/>
              <a:defRPr/>
            </a:pPr>
            <a:r>
              <a:rPr lang="en-IN" sz="3200" b="1" kern="0" dirty="0">
                <a:solidFill>
                  <a:srgbClr val="FFFFFF"/>
                </a:solidFill>
                <a:latin typeface="EYInterstate Light"/>
              </a:rPr>
              <a:t>Inferences &amp; Recommendations</a:t>
            </a:r>
          </a:p>
        </p:txBody>
      </p:sp>
      <p:sp>
        <p:nvSpPr>
          <p:cNvPr id="7" name="Rectangle 115">
            <a:extLst>
              <a:ext uri="{FF2B5EF4-FFF2-40B4-BE49-F238E27FC236}">
                <a16:creationId xmlns:a16="http://schemas.microsoft.com/office/drawing/2014/main" id="{EB10C61B-8E44-43F5-B86E-8E332EE8FB2C}"/>
              </a:ext>
            </a:extLst>
          </p:cNvPr>
          <p:cNvSpPr/>
          <p:nvPr/>
        </p:nvSpPr>
        <p:spPr>
          <a:xfrm>
            <a:off x="4882419" y="905649"/>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Rectangle 115">
            <a:extLst>
              <a:ext uri="{FF2B5EF4-FFF2-40B4-BE49-F238E27FC236}">
                <a16:creationId xmlns:a16="http://schemas.microsoft.com/office/drawing/2014/main" id="{D77BCBAB-234E-4568-B9DD-709F6DD364B5}"/>
              </a:ext>
            </a:extLst>
          </p:cNvPr>
          <p:cNvSpPr/>
          <p:nvPr/>
        </p:nvSpPr>
        <p:spPr>
          <a:xfrm>
            <a:off x="491343" y="905650"/>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5145361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1C8CB2-96E1-3D1A-1F64-BBBE6F886733}"/>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Understanding the Clusters</a:t>
            </a:r>
          </a:p>
        </p:txBody>
      </p:sp>
      <p:pic>
        <p:nvPicPr>
          <p:cNvPr id="5" name="Picture 4">
            <a:extLst>
              <a:ext uri="{FF2B5EF4-FFF2-40B4-BE49-F238E27FC236}">
                <a16:creationId xmlns:a16="http://schemas.microsoft.com/office/drawing/2014/main" id="{BBCCC977-E972-506F-DD62-169DB9341E33}"/>
              </a:ext>
            </a:extLst>
          </p:cNvPr>
          <p:cNvPicPr>
            <a:picLocks noChangeAspect="1"/>
          </p:cNvPicPr>
          <p:nvPr/>
        </p:nvPicPr>
        <p:blipFill rotWithShape="1">
          <a:blip r:embed="rId2">
            <a:extLst>
              <a:ext uri="{28A0092B-C50C-407E-A947-70E740481C1C}">
                <a14:useLocalDpi xmlns:a14="http://schemas.microsoft.com/office/drawing/2010/main" val="0"/>
              </a:ext>
            </a:extLst>
          </a:blip>
          <a:srcRect t="8207" b="4869"/>
          <a:stretch/>
        </p:blipFill>
        <p:spPr>
          <a:xfrm>
            <a:off x="731520" y="1046480"/>
            <a:ext cx="2813258" cy="5149294"/>
          </a:xfrm>
          <a:prstGeom prst="rect">
            <a:avLst/>
          </a:prstGeom>
          <a:ln>
            <a:solidFill>
              <a:srgbClr val="EAEDF2"/>
            </a:solidFill>
          </a:ln>
        </p:spPr>
      </p:pic>
      <p:pic>
        <p:nvPicPr>
          <p:cNvPr id="10" name="Picture 9">
            <a:extLst>
              <a:ext uri="{FF2B5EF4-FFF2-40B4-BE49-F238E27FC236}">
                <a16:creationId xmlns:a16="http://schemas.microsoft.com/office/drawing/2014/main" id="{EDCFDC12-9063-EF36-5D16-39AE503458F3}"/>
              </a:ext>
            </a:extLst>
          </p:cNvPr>
          <p:cNvPicPr>
            <a:picLocks noChangeAspect="1"/>
          </p:cNvPicPr>
          <p:nvPr/>
        </p:nvPicPr>
        <p:blipFill>
          <a:blip r:embed="rId3"/>
          <a:stretch>
            <a:fillRect/>
          </a:stretch>
        </p:blipFill>
        <p:spPr>
          <a:xfrm>
            <a:off x="4107845" y="1507250"/>
            <a:ext cx="7572950" cy="1370965"/>
          </a:xfrm>
          <a:prstGeom prst="rect">
            <a:avLst/>
          </a:prstGeom>
        </p:spPr>
      </p:pic>
      <p:sp>
        <p:nvSpPr>
          <p:cNvPr id="11" name="TextBox 10">
            <a:extLst>
              <a:ext uri="{FF2B5EF4-FFF2-40B4-BE49-F238E27FC236}">
                <a16:creationId xmlns:a16="http://schemas.microsoft.com/office/drawing/2014/main" id="{A48B3FDA-6C6F-7125-39E8-4FC54B1E1EDB}"/>
              </a:ext>
            </a:extLst>
          </p:cNvPr>
          <p:cNvSpPr txBox="1"/>
          <p:nvPr/>
        </p:nvSpPr>
        <p:spPr>
          <a:xfrm>
            <a:off x="4338320" y="3621127"/>
            <a:ext cx="7342475" cy="1200329"/>
          </a:xfrm>
          <a:prstGeom prst="rect">
            <a:avLst/>
          </a:prstGeom>
          <a:solidFill>
            <a:srgbClr val="F7F7F7"/>
          </a:solidFill>
        </p:spPr>
        <p:txBody>
          <a:bodyPr wrap="square" rtlCol="0">
            <a:spAutoFit/>
          </a:bodyPr>
          <a:lstStyle/>
          <a:p>
            <a:pPr marL="285750" indent="-285750">
              <a:buFont typeface="Arial" panose="020B0604020202020204" pitchFamily="34" charset="0"/>
              <a:buChar char="•"/>
            </a:pPr>
            <a:r>
              <a:rPr lang="en-IN" dirty="0"/>
              <a:t>Clusters are fairly distributed with lowest counts in “0”</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Cluster 0-2 following high to low trend for most KPIs except GM% which is other way around</a:t>
            </a:r>
          </a:p>
        </p:txBody>
      </p:sp>
    </p:spTree>
    <p:extLst>
      <p:ext uri="{BB962C8B-B14F-4D97-AF65-F5344CB8AC3E}">
        <p14:creationId xmlns:p14="http://schemas.microsoft.com/office/powerpoint/2010/main" val="3784432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EABC0C-4481-97C9-DEB4-9C2A60B5EC2E}"/>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Cluster Profiling</a:t>
            </a:r>
          </a:p>
        </p:txBody>
      </p:sp>
      <p:pic>
        <p:nvPicPr>
          <p:cNvPr id="7" name="Picture 6">
            <a:extLst>
              <a:ext uri="{FF2B5EF4-FFF2-40B4-BE49-F238E27FC236}">
                <a16:creationId xmlns:a16="http://schemas.microsoft.com/office/drawing/2014/main" id="{228716B2-CDE5-D2E9-97D7-5E45CD16922B}"/>
              </a:ext>
            </a:extLst>
          </p:cNvPr>
          <p:cNvPicPr>
            <a:picLocks noChangeAspect="1"/>
          </p:cNvPicPr>
          <p:nvPr/>
        </p:nvPicPr>
        <p:blipFill rotWithShape="1">
          <a:blip r:embed="rId2"/>
          <a:srcRect t="26448"/>
          <a:stretch/>
        </p:blipFill>
        <p:spPr>
          <a:xfrm>
            <a:off x="89405" y="1278771"/>
            <a:ext cx="1404115" cy="574139"/>
          </a:xfrm>
          <a:prstGeom prst="rect">
            <a:avLst/>
          </a:prstGeom>
        </p:spPr>
      </p:pic>
      <p:pic>
        <p:nvPicPr>
          <p:cNvPr id="5" name="Picture 4">
            <a:extLst>
              <a:ext uri="{FF2B5EF4-FFF2-40B4-BE49-F238E27FC236}">
                <a16:creationId xmlns:a16="http://schemas.microsoft.com/office/drawing/2014/main" id="{DC6CE7F6-BF6D-6167-C577-58D3EF6B8880}"/>
              </a:ext>
            </a:extLst>
          </p:cNvPr>
          <p:cNvPicPr>
            <a:picLocks noChangeAspect="1"/>
          </p:cNvPicPr>
          <p:nvPr/>
        </p:nvPicPr>
        <p:blipFill>
          <a:blip r:embed="rId3"/>
          <a:stretch>
            <a:fillRect/>
          </a:stretch>
        </p:blipFill>
        <p:spPr>
          <a:xfrm>
            <a:off x="841247" y="1005508"/>
            <a:ext cx="5448053" cy="3091733"/>
          </a:xfrm>
          <a:prstGeom prst="rect">
            <a:avLst/>
          </a:prstGeom>
          <a:ln>
            <a:solidFill>
              <a:srgbClr val="EAEDF2"/>
            </a:solidFill>
          </a:ln>
        </p:spPr>
      </p:pic>
      <p:pic>
        <p:nvPicPr>
          <p:cNvPr id="9" name="Picture 8">
            <a:extLst>
              <a:ext uri="{FF2B5EF4-FFF2-40B4-BE49-F238E27FC236}">
                <a16:creationId xmlns:a16="http://schemas.microsoft.com/office/drawing/2014/main" id="{C4D4F058-3DCF-5C1C-7BA8-217F4DD0DA3E}"/>
              </a:ext>
            </a:extLst>
          </p:cNvPr>
          <p:cNvPicPr>
            <a:picLocks noChangeAspect="1"/>
          </p:cNvPicPr>
          <p:nvPr/>
        </p:nvPicPr>
        <p:blipFill>
          <a:blip r:embed="rId4"/>
          <a:stretch>
            <a:fillRect/>
          </a:stretch>
        </p:blipFill>
        <p:spPr>
          <a:xfrm>
            <a:off x="6437902" y="1005508"/>
            <a:ext cx="2746737" cy="4808736"/>
          </a:xfrm>
          <a:prstGeom prst="rect">
            <a:avLst/>
          </a:prstGeom>
          <a:ln>
            <a:solidFill>
              <a:srgbClr val="EAEDF2"/>
            </a:solidFill>
          </a:ln>
        </p:spPr>
      </p:pic>
      <p:sp>
        <p:nvSpPr>
          <p:cNvPr id="10" name="TextBox 9">
            <a:extLst>
              <a:ext uri="{FF2B5EF4-FFF2-40B4-BE49-F238E27FC236}">
                <a16:creationId xmlns:a16="http://schemas.microsoft.com/office/drawing/2014/main" id="{3B214A77-B79A-4791-3A88-99AB7FDEB616}"/>
              </a:ext>
            </a:extLst>
          </p:cNvPr>
          <p:cNvSpPr txBox="1"/>
          <p:nvPr/>
        </p:nvSpPr>
        <p:spPr>
          <a:xfrm>
            <a:off x="616226" y="4693920"/>
            <a:ext cx="5701259" cy="1477328"/>
          </a:xfrm>
          <a:prstGeom prst="rect">
            <a:avLst/>
          </a:prstGeom>
          <a:solidFill>
            <a:srgbClr val="F7F7F7"/>
          </a:solidFill>
        </p:spPr>
        <p:txBody>
          <a:bodyPr wrap="square" rtlCol="0">
            <a:spAutoFit/>
          </a:bodyPr>
          <a:lstStyle/>
          <a:p>
            <a:pPr marL="285750" indent="-285750">
              <a:buFont typeface="Arial" panose="020B0604020202020204" pitchFamily="34" charset="0"/>
              <a:buChar char="•"/>
            </a:pPr>
            <a:r>
              <a:rPr lang="en-IN" dirty="0"/>
              <a:t>Higher mix of Physical stores (In-store &amp; Outlet) in cluster 0&amp;1 , cluster 2 skewed towards online</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a:t>Price per unit lower in “cluster 2” but GM% higher across channels &amp; product categories </a:t>
            </a:r>
          </a:p>
        </p:txBody>
      </p:sp>
      <p:pic>
        <p:nvPicPr>
          <p:cNvPr id="12" name="Picture 11">
            <a:extLst>
              <a:ext uri="{FF2B5EF4-FFF2-40B4-BE49-F238E27FC236}">
                <a16:creationId xmlns:a16="http://schemas.microsoft.com/office/drawing/2014/main" id="{69B686F0-43E4-16E2-7193-27828C64F6FB}"/>
              </a:ext>
            </a:extLst>
          </p:cNvPr>
          <p:cNvPicPr>
            <a:picLocks noChangeAspect="1"/>
          </p:cNvPicPr>
          <p:nvPr/>
        </p:nvPicPr>
        <p:blipFill>
          <a:blip r:embed="rId5"/>
          <a:stretch>
            <a:fillRect/>
          </a:stretch>
        </p:blipFill>
        <p:spPr>
          <a:xfrm>
            <a:off x="9305056" y="1005508"/>
            <a:ext cx="2746737" cy="4754855"/>
          </a:xfrm>
          <a:prstGeom prst="rect">
            <a:avLst/>
          </a:prstGeom>
          <a:ln>
            <a:solidFill>
              <a:srgbClr val="EAEDF2"/>
            </a:solidFill>
          </a:ln>
        </p:spPr>
      </p:pic>
    </p:spTree>
    <p:extLst>
      <p:ext uri="{BB962C8B-B14F-4D97-AF65-F5344CB8AC3E}">
        <p14:creationId xmlns:p14="http://schemas.microsoft.com/office/powerpoint/2010/main" val="3972961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C917F5-E903-D1B6-690C-9C24CA012C5A}"/>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Cluster Profiling</a:t>
            </a:r>
            <a:endParaRPr lang="en-IN" sz="2800" dirty="0"/>
          </a:p>
        </p:txBody>
      </p:sp>
      <p:grpSp>
        <p:nvGrpSpPr>
          <p:cNvPr id="12" name="Group 11">
            <a:extLst>
              <a:ext uri="{FF2B5EF4-FFF2-40B4-BE49-F238E27FC236}">
                <a16:creationId xmlns:a16="http://schemas.microsoft.com/office/drawing/2014/main" id="{CF852199-A3E2-4440-3570-56D8ED3B0A40}"/>
              </a:ext>
            </a:extLst>
          </p:cNvPr>
          <p:cNvGrpSpPr/>
          <p:nvPr/>
        </p:nvGrpSpPr>
        <p:grpSpPr>
          <a:xfrm>
            <a:off x="616226" y="988446"/>
            <a:ext cx="3569694" cy="5478568"/>
            <a:chOff x="616226" y="988446"/>
            <a:chExt cx="3569694" cy="5478568"/>
          </a:xfrm>
        </p:grpSpPr>
        <p:pic>
          <p:nvPicPr>
            <p:cNvPr id="5" name="Picture 4">
              <a:extLst>
                <a:ext uri="{FF2B5EF4-FFF2-40B4-BE49-F238E27FC236}">
                  <a16:creationId xmlns:a16="http://schemas.microsoft.com/office/drawing/2014/main" id="{2BD64FD1-F438-0CD5-E80C-62F658E434A8}"/>
                </a:ext>
              </a:extLst>
            </p:cNvPr>
            <p:cNvPicPr>
              <a:picLocks noChangeAspect="1"/>
            </p:cNvPicPr>
            <p:nvPr/>
          </p:nvPicPr>
          <p:blipFill>
            <a:blip r:embed="rId2"/>
            <a:stretch>
              <a:fillRect/>
            </a:stretch>
          </p:blipFill>
          <p:spPr>
            <a:xfrm>
              <a:off x="794712" y="1559847"/>
              <a:ext cx="2922066" cy="4907166"/>
            </a:xfrm>
            <a:prstGeom prst="rect">
              <a:avLst/>
            </a:prstGeom>
          </p:spPr>
        </p:pic>
        <p:pic>
          <p:nvPicPr>
            <p:cNvPr id="7" name="Picture 6">
              <a:extLst>
                <a:ext uri="{FF2B5EF4-FFF2-40B4-BE49-F238E27FC236}">
                  <a16:creationId xmlns:a16="http://schemas.microsoft.com/office/drawing/2014/main" id="{854895FC-233B-7ADE-D7CD-8BA587B95C3A}"/>
                </a:ext>
              </a:extLst>
            </p:cNvPr>
            <p:cNvPicPr>
              <a:picLocks noChangeAspect="1"/>
            </p:cNvPicPr>
            <p:nvPr/>
          </p:nvPicPr>
          <p:blipFill rotWithShape="1">
            <a:blip r:embed="rId3"/>
            <a:srcRect t="13780" b="42036"/>
            <a:stretch/>
          </p:blipFill>
          <p:spPr>
            <a:xfrm>
              <a:off x="732758" y="1028625"/>
              <a:ext cx="1683200" cy="531222"/>
            </a:xfrm>
            <a:prstGeom prst="rect">
              <a:avLst/>
            </a:prstGeom>
          </p:spPr>
        </p:pic>
        <p:sp>
          <p:nvSpPr>
            <p:cNvPr id="11" name="Rectangle 10">
              <a:extLst>
                <a:ext uri="{FF2B5EF4-FFF2-40B4-BE49-F238E27FC236}">
                  <a16:creationId xmlns:a16="http://schemas.microsoft.com/office/drawing/2014/main" id="{520FCD84-099C-E421-8AFD-11033953E643}"/>
                </a:ext>
              </a:extLst>
            </p:cNvPr>
            <p:cNvSpPr/>
            <p:nvPr/>
          </p:nvSpPr>
          <p:spPr>
            <a:xfrm>
              <a:off x="616226" y="988446"/>
              <a:ext cx="3569694" cy="5478568"/>
            </a:xfrm>
            <a:prstGeom prst="rect">
              <a:avLst/>
            </a:prstGeom>
            <a:no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0" name="Picture 9">
            <a:extLst>
              <a:ext uri="{FF2B5EF4-FFF2-40B4-BE49-F238E27FC236}">
                <a16:creationId xmlns:a16="http://schemas.microsoft.com/office/drawing/2014/main" id="{AE97625C-07A2-B931-1309-E59AAFF74409}"/>
              </a:ext>
            </a:extLst>
          </p:cNvPr>
          <p:cNvPicPr>
            <a:picLocks noChangeAspect="1"/>
          </p:cNvPicPr>
          <p:nvPr/>
        </p:nvPicPr>
        <p:blipFill rotWithShape="1">
          <a:blip r:embed="rId3"/>
          <a:srcRect t="59995"/>
          <a:stretch/>
        </p:blipFill>
        <p:spPr>
          <a:xfrm>
            <a:off x="2326865" y="1028624"/>
            <a:ext cx="1859055" cy="531223"/>
          </a:xfrm>
          <a:prstGeom prst="rect">
            <a:avLst/>
          </a:prstGeom>
        </p:spPr>
      </p:pic>
      <p:grpSp>
        <p:nvGrpSpPr>
          <p:cNvPr id="16" name="Group 15">
            <a:extLst>
              <a:ext uri="{FF2B5EF4-FFF2-40B4-BE49-F238E27FC236}">
                <a16:creationId xmlns:a16="http://schemas.microsoft.com/office/drawing/2014/main" id="{B269D77A-0C80-7DF7-BD51-2DE54A1EE4B2}"/>
              </a:ext>
            </a:extLst>
          </p:cNvPr>
          <p:cNvGrpSpPr/>
          <p:nvPr/>
        </p:nvGrpSpPr>
        <p:grpSpPr>
          <a:xfrm>
            <a:off x="4416503" y="988446"/>
            <a:ext cx="7159271" cy="3279677"/>
            <a:chOff x="4416503" y="988446"/>
            <a:chExt cx="7159271" cy="3279677"/>
          </a:xfrm>
        </p:grpSpPr>
        <p:pic>
          <p:nvPicPr>
            <p:cNvPr id="9" name="Picture 8">
              <a:extLst>
                <a:ext uri="{FF2B5EF4-FFF2-40B4-BE49-F238E27FC236}">
                  <a16:creationId xmlns:a16="http://schemas.microsoft.com/office/drawing/2014/main" id="{E57636F9-E8BA-A3D3-8FAC-7807C0617B48}"/>
                </a:ext>
              </a:extLst>
            </p:cNvPr>
            <p:cNvPicPr>
              <a:picLocks noChangeAspect="1"/>
            </p:cNvPicPr>
            <p:nvPr/>
          </p:nvPicPr>
          <p:blipFill>
            <a:blip r:embed="rId4"/>
            <a:stretch>
              <a:fillRect/>
            </a:stretch>
          </p:blipFill>
          <p:spPr>
            <a:xfrm>
              <a:off x="4416503" y="988446"/>
              <a:ext cx="5779237" cy="3279677"/>
            </a:xfrm>
            <a:prstGeom prst="rect">
              <a:avLst/>
            </a:prstGeom>
          </p:spPr>
        </p:pic>
        <p:pic>
          <p:nvPicPr>
            <p:cNvPr id="14" name="Picture 13">
              <a:extLst>
                <a:ext uri="{FF2B5EF4-FFF2-40B4-BE49-F238E27FC236}">
                  <a16:creationId xmlns:a16="http://schemas.microsoft.com/office/drawing/2014/main" id="{D768DE34-AEA6-0A38-DD05-93A6F3EF97EF}"/>
                </a:ext>
              </a:extLst>
            </p:cNvPr>
            <p:cNvPicPr>
              <a:picLocks noChangeAspect="1"/>
            </p:cNvPicPr>
            <p:nvPr/>
          </p:nvPicPr>
          <p:blipFill>
            <a:blip r:embed="rId5"/>
            <a:stretch>
              <a:fillRect/>
            </a:stretch>
          </p:blipFill>
          <p:spPr>
            <a:xfrm>
              <a:off x="10266296" y="1028624"/>
              <a:ext cx="1309478" cy="1795856"/>
            </a:xfrm>
            <a:prstGeom prst="rect">
              <a:avLst/>
            </a:prstGeom>
          </p:spPr>
        </p:pic>
        <p:sp>
          <p:nvSpPr>
            <p:cNvPr id="15" name="Rectangle 14">
              <a:extLst>
                <a:ext uri="{FF2B5EF4-FFF2-40B4-BE49-F238E27FC236}">
                  <a16:creationId xmlns:a16="http://schemas.microsoft.com/office/drawing/2014/main" id="{0C8D04C4-D113-6736-488B-2A702FD7495B}"/>
                </a:ext>
              </a:extLst>
            </p:cNvPr>
            <p:cNvSpPr/>
            <p:nvPr/>
          </p:nvSpPr>
          <p:spPr>
            <a:xfrm>
              <a:off x="4416503" y="988446"/>
              <a:ext cx="7159271" cy="3279677"/>
            </a:xfrm>
            <a:prstGeom prst="rect">
              <a:avLst/>
            </a:prstGeom>
            <a:no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7" name="TextBox 16">
            <a:extLst>
              <a:ext uri="{FF2B5EF4-FFF2-40B4-BE49-F238E27FC236}">
                <a16:creationId xmlns:a16="http://schemas.microsoft.com/office/drawing/2014/main" id="{36F606D6-8576-231C-F67A-071B3EC34F8B}"/>
              </a:ext>
            </a:extLst>
          </p:cNvPr>
          <p:cNvSpPr txBox="1"/>
          <p:nvPr/>
        </p:nvSpPr>
        <p:spPr>
          <a:xfrm>
            <a:off x="4416503" y="4561840"/>
            <a:ext cx="7159271" cy="1354217"/>
          </a:xfrm>
          <a:prstGeom prst="rect">
            <a:avLst/>
          </a:prstGeom>
          <a:solidFill>
            <a:srgbClr val="F7F7F7"/>
          </a:solidFill>
        </p:spPr>
        <p:txBody>
          <a:bodyPr wrap="square" rtlCol="0">
            <a:spAutoFit/>
          </a:bodyPr>
          <a:lstStyle/>
          <a:p>
            <a:pPr marL="285750" indent="-285750">
              <a:buFont typeface="Arial" panose="020B0604020202020204" pitchFamily="34" charset="0"/>
              <a:buChar char="•"/>
            </a:pPr>
            <a:r>
              <a:rPr lang="en-IN" sz="1600" dirty="0"/>
              <a:t>Cluster 0 – Higher sales mix of Men’s street footwear </a:t>
            </a:r>
          </a:p>
          <a:p>
            <a:pPr marL="285750" indent="-285750">
              <a:buFont typeface="Arial" panose="020B0604020202020204" pitchFamily="34" charset="0"/>
              <a:buChar char="•"/>
            </a:pPr>
            <a:r>
              <a:rPr lang="en-IN" sz="1600" dirty="0"/>
              <a:t>Cluster 1 – Fair mix of all product categories</a:t>
            </a:r>
          </a:p>
          <a:p>
            <a:pPr marL="285750" indent="-285750">
              <a:buFont typeface="Arial" panose="020B0604020202020204" pitchFamily="34" charset="0"/>
              <a:buChar char="•"/>
            </a:pPr>
            <a:r>
              <a:rPr lang="en-IN" sz="1600" dirty="0"/>
              <a:t>Cluster 2 – Higher mix of women’s apparel </a:t>
            </a:r>
          </a:p>
          <a:p>
            <a:pPr marL="742950" lvl="1" indent="-285750">
              <a:buFontTx/>
              <a:buChar char="-"/>
            </a:pPr>
            <a:r>
              <a:rPr lang="en-IN" sz="1600" dirty="0"/>
              <a:t>Low sales Footwear category footwear “In-Store” </a:t>
            </a:r>
          </a:p>
          <a:p>
            <a:pPr marL="742950" lvl="1" indent="-285750">
              <a:buFontTx/>
              <a:buChar char="-"/>
            </a:pPr>
            <a:r>
              <a:rPr lang="en-IN" sz="1600" dirty="0"/>
              <a:t>Men’s footwear is completely missing in In-store </a:t>
            </a:r>
          </a:p>
        </p:txBody>
      </p:sp>
    </p:spTree>
    <p:extLst>
      <p:ext uri="{BB962C8B-B14F-4D97-AF65-F5344CB8AC3E}">
        <p14:creationId xmlns:p14="http://schemas.microsoft.com/office/powerpoint/2010/main" val="3385930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460794-C3BC-02D6-69C7-9A95F4D46D1C}"/>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Cluster Profiling</a:t>
            </a:r>
            <a:endParaRPr lang="en-IN" sz="2800" dirty="0"/>
          </a:p>
        </p:txBody>
      </p:sp>
      <p:grpSp>
        <p:nvGrpSpPr>
          <p:cNvPr id="20" name="Group 19">
            <a:extLst>
              <a:ext uri="{FF2B5EF4-FFF2-40B4-BE49-F238E27FC236}">
                <a16:creationId xmlns:a16="http://schemas.microsoft.com/office/drawing/2014/main" id="{C5E0C1C7-3C93-2F59-BB13-466E7D26009C}"/>
              </a:ext>
            </a:extLst>
          </p:cNvPr>
          <p:cNvGrpSpPr/>
          <p:nvPr/>
        </p:nvGrpSpPr>
        <p:grpSpPr>
          <a:xfrm>
            <a:off x="325120" y="1032145"/>
            <a:ext cx="11472135" cy="3617882"/>
            <a:chOff x="254000" y="950865"/>
            <a:chExt cx="11472135" cy="3617882"/>
          </a:xfrm>
        </p:grpSpPr>
        <p:pic>
          <p:nvPicPr>
            <p:cNvPr id="5" name="Picture 4">
              <a:extLst>
                <a:ext uri="{FF2B5EF4-FFF2-40B4-BE49-F238E27FC236}">
                  <a16:creationId xmlns:a16="http://schemas.microsoft.com/office/drawing/2014/main" id="{ED152E3F-13A4-72C0-A38B-C2D76BEC5A50}"/>
                </a:ext>
              </a:extLst>
            </p:cNvPr>
            <p:cNvPicPr>
              <a:picLocks noChangeAspect="1"/>
            </p:cNvPicPr>
            <p:nvPr/>
          </p:nvPicPr>
          <p:blipFill>
            <a:blip r:embed="rId2"/>
            <a:stretch>
              <a:fillRect/>
            </a:stretch>
          </p:blipFill>
          <p:spPr>
            <a:xfrm>
              <a:off x="392749" y="1557054"/>
              <a:ext cx="5307011" cy="3011693"/>
            </a:xfrm>
            <a:prstGeom prst="rect">
              <a:avLst/>
            </a:prstGeom>
          </p:spPr>
        </p:pic>
        <p:pic>
          <p:nvPicPr>
            <p:cNvPr id="8" name="Picture 7">
              <a:extLst>
                <a:ext uri="{FF2B5EF4-FFF2-40B4-BE49-F238E27FC236}">
                  <a16:creationId xmlns:a16="http://schemas.microsoft.com/office/drawing/2014/main" id="{DAAA7FFF-18AD-8B63-3748-0D9B04480F50}"/>
                </a:ext>
              </a:extLst>
            </p:cNvPr>
            <p:cNvPicPr>
              <a:picLocks noChangeAspect="1"/>
            </p:cNvPicPr>
            <p:nvPr/>
          </p:nvPicPr>
          <p:blipFill rotWithShape="1">
            <a:blip r:embed="rId3"/>
            <a:srcRect t="68666"/>
            <a:stretch/>
          </p:blipFill>
          <p:spPr>
            <a:xfrm>
              <a:off x="3358023" y="966062"/>
              <a:ext cx="1008177" cy="478364"/>
            </a:xfrm>
            <a:prstGeom prst="rect">
              <a:avLst/>
            </a:prstGeom>
          </p:spPr>
        </p:pic>
        <p:pic>
          <p:nvPicPr>
            <p:cNvPr id="10" name="Picture 9">
              <a:extLst>
                <a:ext uri="{FF2B5EF4-FFF2-40B4-BE49-F238E27FC236}">
                  <a16:creationId xmlns:a16="http://schemas.microsoft.com/office/drawing/2014/main" id="{5BA1116A-66EE-F3DC-DEE4-6A43EE10D9F5}"/>
                </a:ext>
              </a:extLst>
            </p:cNvPr>
            <p:cNvPicPr>
              <a:picLocks noChangeAspect="1"/>
            </p:cNvPicPr>
            <p:nvPr/>
          </p:nvPicPr>
          <p:blipFill rotWithShape="1">
            <a:blip r:embed="rId4"/>
            <a:srcRect t="66397"/>
            <a:stretch/>
          </p:blipFill>
          <p:spPr>
            <a:xfrm>
              <a:off x="8516111" y="950865"/>
              <a:ext cx="1115094" cy="513881"/>
            </a:xfrm>
            <a:prstGeom prst="rect">
              <a:avLst/>
            </a:prstGeom>
          </p:spPr>
        </p:pic>
        <p:pic>
          <p:nvPicPr>
            <p:cNvPr id="12" name="Picture 11">
              <a:extLst>
                <a:ext uri="{FF2B5EF4-FFF2-40B4-BE49-F238E27FC236}">
                  <a16:creationId xmlns:a16="http://schemas.microsoft.com/office/drawing/2014/main" id="{D49E3D3D-6684-CCBE-FE36-31E0D91CC66B}"/>
                </a:ext>
              </a:extLst>
            </p:cNvPr>
            <p:cNvPicPr>
              <a:picLocks noChangeAspect="1"/>
            </p:cNvPicPr>
            <p:nvPr/>
          </p:nvPicPr>
          <p:blipFill>
            <a:blip r:embed="rId5"/>
            <a:stretch>
              <a:fillRect/>
            </a:stretch>
          </p:blipFill>
          <p:spPr>
            <a:xfrm>
              <a:off x="6038834" y="1435971"/>
              <a:ext cx="5520376" cy="3132775"/>
            </a:xfrm>
            <a:prstGeom prst="rect">
              <a:avLst/>
            </a:prstGeom>
          </p:spPr>
        </p:pic>
        <p:pic>
          <p:nvPicPr>
            <p:cNvPr id="17" name="Picture 16">
              <a:extLst>
                <a:ext uri="{FF2B5EF4-FFF2-40B4-BE49-F238E27FC236}">
                  <a16:creationId xmlns:a16="http://schemas.microsoft.com/office/drawing/2014/main" id="{1B007257-6139-3567-CC5A-300DB4D4CD9D}"/>
                </a:ext>
              </a:extLst>
            </p:cNvPr>
            <p:cNvPicPr>
              <a:picLocks noChangeAspect="1"/>
            </p:cNvPicPr>
            <p:nvPr/>
          </p:nvPicPr>
          <p:blipFill>
            <a:blip r:embed="rId6"/>
            <a:stretch>
              <a:fillRect/>
            </a:stretch>
          </p:blipFill>
          <p:spPr>
            <a:xfrm>
              <a:off x="465865" y="1026326"/>
              <a:ext cx="2444750" cy="381000"/>
            </a:xfrm>
            <a:prstGeom prst="rect">
              <a:avLst/>
            </a:prstGeom>
          </p:spPr>
        </p:pic>
        <p:pic>
          <p:nvPicPr>
            <p:cNvPr id="18" name="Picture 17">
              <a:extLst>
                <a:ext uri="{FF2B5EF4-FFF2-40B4-BE49-F238E27FC236}">
                  <a16:creationId xmlns:a16="http://schemas.microsoft.com/office/drawing/2014/main" id="{EF373325-BB45-8191-56CE-DC90921DA801}"/>
                </a:ext>
              </a:extLst>
            </p:cNvPr>
            <p:cNvPicPr>
              <a:picLocks noChangeAspect="1"/>
            </p:cNvPicPr>
            <p:nvPr/>
          </p:nvPicPr>
          <p:blipFill>
            <a:blip r:embed="rId7"/>
            <a:stretch>
              <a:fillRect/>
            </a:stretch>
          </p:blipFill>
          <p:spPr>
            <a:xfrm>
              <a:off x="6361996" y="1014744"/>
              <a:ext cx="1803400" cy="381000"/>
            </a:xfrm>
            <a:prstGeom prst="rect">
              <a:avLst/>
            </a:prstGeom>
          </p:spPr>
        </p:pic>
        <p:sp>
          <p:nvSpPr>
            <p:cNvPr id="19" name="Rectangle 18">
              <a:extLst>
                <a:ext uri="{FF2B5EF4-FFF2-40B4-BE49-F238E27FC236}">
                  <a16:creationId xmlns:a16="http://schemas.microsoft.com/office/drawing/2014/main" id="{6EB355BB-86AA-4F95-B8F3-A6CF0FAF32A3}"/>
                </a:ext>
              </a:extLst>
            </p:cNvPr>
            <p:cNvSpPr/>
            <p:nvPr/>
          </p:nvSpPr>
          <p:spPr>
            <a:xfrm>
              <a:off x="254000" y="1014744"/>
              <a:ext cx="11472135" cy="3554003"/>
            </a:xfrm>
            <a:prstGeom prst="rect">
              <a:avLst/>
            </a:prstGeom>
            <a:no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1" name="TextBox 20">
            <a:extLst>
              <a:ext uri="{FF2B5EF4-FFF2-40B4-BE49-F238E27FC236}">
                <a16:creationId xmlns:a16="http://schemas.microsoft.com/office/drawing/2014/main" id="{903C1403-FC68-BF09-FA81-38AF5E8A7D70}"/>
              </a:ext>
            </a:extLst>
          </p:cNvPr>
          <p:cNvSpPr txBox="1"/>
          <p:nvPr/>
        </p:nvSpPr>
        <p:spPr>
          <a:xfrm>
            <a:off x="325120" y="4852303"/>
            <a:ext cx="6834632" cy="1354217"/>
          </a:xfrm>
          <a:prstGeom prst="rect">
            <a:avLst/>
          </a:prstGeom>
          <a:solidFill>
            <a:srgbClr val="F7F7F7"/>
          </a:solidFill>
        </p:spPr>
        <p:txBody>
          <a:bodyPr wrap="square" rtlCol="0">
            <a:spAutoFit/>
          </a:bodyPr>
          <a:lstStyle/>
          <a:p>
            <a:pPr marL="285750" indent="-285750">
              <a:buFont typeface="Arial" panose="020B0604020202020204" pitchFamily="34" charset="0"/>
              <a:buChar char="•"/>
            </a:pPr>
            <a:r>
              <a:rPr lang="en-IN" sz="1600" dirty="0"/>
              <a:t>Cluster 0  - Low In-store sales from South &amp; no sales of northeast in online</a:t>
            </a:r>
          </a:p>
          <a:p>
            <a:r>
              <a:rPr lang="en-IN" sz="1600" dirty="0"/>
              <a:t>                       - West Gear is dominant retailer (In-Store)		  </a:t>
            </a:r>
          </a:p>
          <a:p>
            <a:pPr marL="285750" indent="-285750">
              <a:buFont typeface="Arial" panose="020B0604020202020204" pitchFamily="34" charset="0"/>
              <a:buChar char="•"/>
            </a:pPr>
            <a:r>
              <a:rPr lang="en-IN" sz="1600" dirty="0"/>
              <a:t>Cluster 1  - Footlocker has high contr. across channel </a:t>
            </a:r>
          </a:p>
          <a:p>
            <a:pPr marL="285750" indent="-285750">
              <a:buFont typeface="Arial" panose="020B0604020202020204" pitchFamily="34" charset="0"/>
              <a:buChar char="•"/>
            </a:pPr>
            <a:r>
              <a:rPr lang="en-IN" sz="1600" dirty="0"/>
              <a:t>Cluster 2  - Walmart &amp; Amazon missing for In-store channel</a:t>
            </a:r>
          </a:p>
          <a:p>
            <a:r>
              <a:rPr lang="en-IN" sz="1600" dirty="0"/>
              <a:t>                       - No sales from South east region for In-store  </a:t>
            </a:r>
          </a:p>
        </p:txBody>
      </p:sp>
    </p:spTree>
    <p:extLst>
      <p:ext uri="{BB962C8B-B14F-4D97-AF65-F5344CB8AC3E}">
        <p14:creationId xmlns:p14="http://schemas.microsoft.com/office/powerpoint/2010/main" val="35993645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D65758-453F-C863-0010-CEADB92AF5A2}"/>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Cluster Profiling - Summary</a:t>
            </a:r>
          </a:p>
        </p:txBody>
      </p:sp>
      <p:sp>
        <p:nvSpPr>
          <p:cNvPr id="5" name="Rectangle: Rounded Corners 4">
            <a:extLst>
              <a:ext uri="{FF2B5EF4-FFF2-40B4-BE49-F238E27FC236}">
                <a16:creationId xmlns:a16="http://schemas.microsoft.com/office/drawing/2014/main" id="{C54880AE-9C92-4934-B874-01DF5F6EA7AC}"/>
              </a:ext>
            </a:extLst>
          </p:cNvPr>
          <p:cNvSpPr/>
          <p:nvPr/>
        </p:nvSpPr>
        <p:spPr>
          <a:xfrm>
            <a:off x="1424763" y="1534160"/>
            <a:ext cx="4752517" cy="1605280"/>
          </a:xfrm>
          <a:prstGeom prst="roundRect">
            <a:avLst/>
          </a:prstGeom>
          <a:solidFill>
            <a:schemeClr val="bg1">
              <a:lumMod val="95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About Cluster Number : 0</a:t>
            </a:r>
          </a:p>
          <a:p>
            <a:pPr marL="285750" indent="-285750">
              <a:buFontTx/>
              <a:buChar char="-"/>
            </a:pPr>
            <a:r>
              <a:rPr lang="en-IN" dirty="0">
                <a:solidFill>
                  <a:schemeClr val="tx1"/>
                </a:solidFill>
              </a:rPr>
              <a:t>Higher mix of Physical stores </a:t>
            </a:r>
          </a:p>
          <a:p>
            <a:pPr marL="285750" indent="-285750">
              <a:buFontTx/>
              <a:buChar char="-"/>
            </a:pPr>
            <a:r>
              <a:rPr lang="en-IN" dirty="0">
                <a:solidFill>
                  <a:schemeClr val="tx1"/>
                </a:solidFill>
              </a:rPr>
              <a:t>Selling more of high value products </a:t>
            </a:r>
          </a:p>
          <a:p>
            <a:pPr marL="285750" indent="-285750">
              <a:buFontTx/>
              <a:buChar char="-"/>
            </a:pPr>
            <a:r>
              <a:rPr lang="en-IN" dirty="0">
                <a:solidFill>
                  <a:schemeClr val="tx1"/>
                </a:solidFill>
              </a:rPr>
              <a:t>Major sales of Walmart stores in this cluster </a:t>
            </a:r>
          </a:p>
          <a:p>
            <a:pPr marL="285750" indent="-285750">
              <a:buFontTx/>
              <a:buChar char="-"/>
            </a:pPr>
            <a:r>
              <a:rPr lang="en-IN" dirty="0">
                <a:solidFill>
                  <a:schemeClr val="tx1"/>
                </a:solidFill>
              </a:rPr>
              <a:t>Good mix across product categories   </a:t>
            </a:r>
          </a:p>
        </p:txBody>
      </p:sp>
      <p:sp>
        <p:nvSpPr>
          <p:cNvPr id="6" name="Rectangle: Rounded Corners 5">
            <a:extLst>
              <a:ext uri="{FF2B5EF4-FFF2-40B4-BE49-F238E27FC236}">
                <a16:creationId xmlns:a16="http://schemas.microsoft.com/office/drawing/2014/main" id="{E5C88947-371B-9DC3-2A27-F6CA81161720}"/>
              </a:ext>
            </a:extLst>
          </p:cNvPr>
          <p:cNvSpPr/>
          <p:nvPr/>
        </p:nvSpPr>
        <p:spPr>
          <a:xfrm>
            <a:off x="6045200" y="2814320"/>
            <a:ext cx="4480560" cy="1605280"/>
          </a:xfrm>
          <a:prstGeom prst="roundRect">
            <a:avLst/>
          </a:prstGeom>
          <a:solidFill>
            <a:schemeClr val="bg1">
              <a:lumMod val="95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About Cluster Number : 1</a:t>
            </a:r>
          </a:p>
          <a:p>
            <a:pPr marL="285750" indent="-285750">
              <a:buFontTx/>
              <a:buChar char="-"/>
            </a:pPr>
            <a:r>
              <a:rPr lang="en-IN" dirty="0">
                <a:solidFill>
                  <a:schemeClr val="tx1"/>
                </a:solidFill>
              </a:rPr>
              <a:t>Highest mix of Physical stores </a:t>
            </a:r>
          </a:p>
          <a:p>
            <a:pPr marL="285750" indent="-285750">
              <a:buFontTx/>
              <a:buChar char="-"/>
            </a:pPr>
            <a:r>
              <a:rPr lang="en-IN" dirty="0">
                <a:solidFill>
                  <a:schemeClr val="tx1"/>
                </a:solidFill>
              </a:rPr>
              <a:t>Selling more of high value products </a:t>
            </a:r>
          </a:p>
          <a:p>
            <a:pPr marL="285750" indent="-285750">
              <a:buFontTx/>
              <a:buChar char="-"/>
            </a:pPr>
            <a:r>
              <a:rPr lang="en-IN" dirty="0">
                <a:solidFill>
                  <a:schemeClr val="tx1"/>
                </a:solidFill>
              </a:rPr>
              <a:t>Equal mix of men &amp; women categories </a:t>
            </a:r>
          </a:p>
        </p:txBody>
      </p:sp>
      <p:sp>
        <p:nvSpPr>
          <p:cNvPr id="7" name="Rectangle: Rounded Corners 6">
            <a:extLst>
              <a:ext uri="{FF2B5EF4-FFF2-40B4-BE49-F238E27FC236}">
                <a16:creationId xmlns:a16="http://schemas.microsoft.com/office/drawing/2014/main" id="{4A50DA64-9B9F-0439-BDCB-59DD8B5286FF}"/>
              </a:ext>
            </a:extLst>
          </p:cNvPr>
          <p:cNvSpPr/>
          <p:nvPr/>
        </p:nvSpPr>
        <p:spPr>
          <a:xfrm>
            <a:off x="1587323" y="4316581"/>
            <a:ext cx="4752517" cy="1605280"/>
          </a:xfrm>
          <a:prstGeom prst="roundRect">
            <a:avLst/>
          </a:prstGeom>
          <a:solidFill>
            <a:schemeClr val="bg1">
              <a:lumMod val="95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About Cluster Number : 2</a:t>
            </a:r>
          </a:p>
          <a:p>
            <a:pPr marL="285750" indent="-285750">
              <a:buFontTx/>
              <a:buChar char="-"/>
            </a:pPr>
            <a:r>
              <a:rPr lang="en-IN" dirty="0">
                <a:solidFill>
                  <a:schemeClr val="tx1"/>
                </a:solidFill>
              </a:rPr>
              <a:t>Highest mix of Online channel </a:t>
            </a:r>
          </a:p>
          <a:p>
            <a:pPr marL="285750" indent="-285750">
              <a:buFontTx/>
              <a:buChar char="-"/>
            </a:pPr>
            <a:r>
              <a:rPr lang="en-IN" dirty="0">
                <a:solidFill>
                  <a:schemeClr val="tx1"/>
                </a:solidFill>
              </a:rPr>
              <a:t>GM% highest , across categories &amp; channel </a:t>
            </a:r>
          </a:p>
          <a:p>
            <a:pPr marL="285750" indent="-285750">
              <a:buFontTx/>
              <a:buChar char="-"/>
            </a:pPr>
            <a:r>
              <a:rPr lang="en-IN" dirty="0">
                <a:solidFill>
                  <a:schemeClr val="tx1"/>
                </a:solidFill>
              </a:rPr>
              <a:t>Low mix of footwear categories</a:t>
            </a:r>
          </a:p>
        </p:txBody>
      </p:sp>
    </p:spTree>
    <p:extLst>
      <p:ext uri="{BB962C8B-B14F-4D97-AF65-F5344CB8AC3E}">
        <p14:creationId xmlns:p14="http://schemas.microsoft.com/office/powerpoint/2010/main" val="42001728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D65758-453F-C863-0010-CEADB92AF5A2}"/>
              </a:ext>
            </a:extLst>
          </p:cNvPr>
          <p:cNvSpPr>
            <a:spLocks noGrp="1"/>
          </p:cNvSpPr>
          <p:nvPr>
            <p:ph type="title"/>
          </p:nvPr>
        </p:nvSpPr>
        <p:spPr/>
        <p:txBody>
          <a:bodyPr>
            <a:normAutofit/>
          </a:bodyPr>
          <a:lstStyle/>
          <a:p>
            <a:r>
              <a:rPr lang="en-IN" sz="2800" b="1" dirty="0">
                <a:latin typeface="Arial" panose="020B0604020202020204" pitchFamily="34" charset="0"/>
                <a:cs typeface="Arial" panose="020B0604020202020204" pitchFamily="34" charset="0"/>
              </a:rPr>
              <a:t>Recommendations</a:t>
            </a:r>
          </a:p>
        </p:txBody>
      </p:sp>
      <p:sp>
        <p:nvSpPr>
          <p:cNvPr id="5" name="Rectangle: Rounded Corners 4">
            <a:extLst>
              <a:ext uri="{FF2B5EF4-FFF2-40B4-BE49-F238E27FC236}">
                <a16:creationId xmlns:a16="http://schemas.microsoft.com/office/drawing/2014/main" id="{C54880AE-9C92-4934-B874-01DF5F6EA7AC}"/>
              </a:ext>
            </a:extLst>
          </p:cNvPr>
          <p:cNvSpPr/>
          <p:nvPr/>
        </p:nvSpPr>
        <p:spPr>
          <a:xfrm>
            <a:off x="1424763" y="1534160"/>
            <a:ext cx="4752517" cy="1605280"/>
          </a:xfrm>
          <a:prstGeom prst="roundRect">
            <a:avLst/>
          </a:prstGeom>
          <a:solidFill>
            <a:schemeClr val="accent6">
              <a:lumMod val="20000"/>
              <a:lumOff val="80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Cluster Number : 0</a:t>
            </a:r>
          </a:p>
          <a:p>
            <a:pPr marL="285750" indent="-285750">
              <a:buFontTx/>
              <a:buChar char="-"/>
            </a:pPr>
            <a:r>
              <a:rPr lang="en-US" sz="1600" dirty="0">
                <a:solidFill>
                  <a:srgbClr val="000000"/>
                </a:solidFill>
                <a:cs typeface="Arial" panose="020B0604020202020204" pitchFamily="34" charset="0"/>
              </a:rPr>
              <a:t>Target premium/limited products</a:t>
            </a:r>
          </a:p>
          <a:p>
            <a:pPr marL="285750" indent="-285750">
              <a:buFontTx/>
              <a:buChar char="-"/>
            </a:pPr>
            <a:r>
              <a:rPr lang="en-US" sz="1600" dirty="0">
                <a:solidFill>
                  <a:srgbClr val="000000"/>
                </a:solidFill>
                <a:cs typeface="Arial" panose="020B0604020202020204" pitchFamily="34" charset="0"/>
              </a:rPr>
              <a:t>Ideal customer for “</a:t>
            </a:r>
            <a:r>
              <a:rPr lang="en-US" sz="1600" dirty="0" err="1">
                <a:solidFill>
                  <a:srgbClr val="000000"/>
                </a:solidFill>
                <a:cs typeface="Arial" panose="020B0604020202020204" pitchFamily="34" charset="0"/>
              </a:rPr>
              <a:t>walmart</a:t>
            </a:r>
            <a:r>
              <a:rPr lang="en-US" sz="1600" dirty="0">
                <a:solidFill>
                  <a:srgbClr val="000000"/>
                </a:solidFill>
                <a:cs typeface="Arial" panose="020B0604020202020204" pitchFamily="34" charset="0"/>
              </a:rPr>
              <a:t>”</a:t>
            </a:r>
          </a:p>
          <a:p>
            <a:pPr marL="285750" indent="-285750">
              <a:buFontTx/>
              <a:buChar char="-"/>
            </a:pPr>
            <a:r>
              <a:rPr lang="en-US" sz="1600" dirty="0">
                <a:solidFill>
                  <a:srgbClr val="000000"/>
                </a:solidFill>
                <a:cs typeface="Arial" panose="020B0604020202020204" pitchFamily="34" charset="0"/>
              </a:rPr>
              <a:t>Explore online channel for “</a:t>
            </a:r>
            <a:r>
              <a:rPr lang="en-US" sz="1600" dirty="0" err="1">
                <a:solidFill>
                  <a:srgbClr val="000000"/>
                </a:solidFill>
                <a:cs typeface="Arial" panose="020B0604020202020204" pitchFamily="34" charset="0"/>
              </a:rPr>
              <a:t>NorthEast</a:t>
            </a:r>
            <a:r>
              <a:rPr lang="en-US" sz="1600" dirty="0">
                <a:solidFill>
                  <a:srgbClr val="000000"/>
                </a:solidFill>
                <a:cs typeface="Arial" panose="020B0604020202020204" pitchFamily="34" charset="0"/>
              </a:rPr>
              <a:t>” region  </a:t>
            </a:r>
            <a:endParaRPr lang="en-IN" sz="1600" dirty="0">
              <a:solidFill>
                <a:schemeClr val="tx1"/>
              </a:solidFill>
            </a:endParaRPr>
          </a:p>
        </p:txBody>
      </p:sp>
      <p:sp>
        <p:nvSpPr>
          <p:cNvPr id="6" name="Rectangle: Rounded Corners 5">
            <a:extLst>
              <a:ext uri="{FF2B5EF4-FFF2-40B4-BE49-F238E27FC236}">
                <a16:creationId xmlns:a16="http://schemas.microsoft.com/office/drawing/2014/main" id="{E5C88947-371B-9DC3-2A27-F6CA81161720}"/>
              </a:ext>
            </a:extLst>
          </p:cNvPr>
          <p:cNvSpPr/>
          <p:nvPr/>
        </p:nvSpPr>
        <p:spPr>
          <a:xfrm>
            <a:off x="6045200" y="2814320"/>
            <a:ext cx="4480560" cy="1605280"/>
          </a:xfrm>
          <a:prstGeom prst="roundRect">
            <a:avLst/>
          </a:prstGeom>
          <a:solidFill>
            <a:schemeClr val="bg1">
              <a:lumMod val="95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Cluster Number : 1</a:t>
            </a:r>
          </a:p>
          <a:p>
            <a:pPr marL="285750" indent="-285750">
              <a:buFontTx/>
              <a:buChar char="-"/>
            </a:pPr>
            <a:r>
              <a:rPr lang="en-IN" sz="1600" dirty="0">
                <a:solidFill>
                  <a:schemeClr val="tx1"/>
                </a:solidFill>
              </a:rPr>
              <a:t>Explore online channel with focus on lower price &amp; higher margin products</a:t>
            </a:r>
          </a:p>
        </p:txBody>
      </p:sp>
      <p:sp>
        <p:nvSpPr>
          <p:cNvPr id="7" name="Rectangle: Rounded Corners 6">
            <a:extLst>
              <a:ext uri="{FF2B5EF4-FFF2-40B4-BE49-F238E27FC236}">
                <a16:creationId xmlns:a16="http://schemas.microsoft.com/office/drawing/2014/main" id="{4A50DA64-9B9F-0439-BDCB-59DD8B5286FF}"/>
              </a:ext>
            </a:extLst>
          </p:cNvPr>
          <p:cNvSpPr/>
          <p:nvPr/>
        </p:nvSpPr>
        <p:spPr>
          <a:xfrm>
            <a:off x="1587323" y="4316581"/>
            <a:ext cx="4752517" cy="1605280"/>
          </a:xfrm>
          <a:prstGeom prst="roundRect">
            <a:avLst/>
          </a:prstGeom>
          <a:solidFill>
            <a:schemeClr val="bg1">
              <a:lumMod val="95000"/>
            </a:schemeClr>
          </a:solidFill>
          <a:ln>
            <a:solidFill>
              <a:srgbClr val="EAE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rgbClr val="0070C0"/>
                </a:solidFill>
              </a:rPr>
              <a:t>Cluster Number : 2</a:t>
            </a:r>
          </a:p>
          <a:p>
            <a:pPr marL="285750" indent="-285750">
              <a:buFontTx/>
              <a:buChar char="-"/>
            </a:pPr>
            <a:r>
              <a:rPr lang="en-US" sz="1600" dirty="0">
                <a:solidFill>
                  <a:srgbClr val="000000"/>
                </a:solidFill>
                <a:cs typeface="Arial" panose="020B0604020202020204" pitchFamily="34" charset="0"/>
              </a:rPr>
              <a:t>Continue to focus on “online” in line with changing consumer behavior</a:t>
            </a:r>
          </a:p>
          <a:p>
            <a:pPr marL="285750" indent="-285750">
              <a:buFontTx/>
              <a:buChar char="-"/>
            </a:pPr>
            <a:r>
              <a:rPr lang="en-IN" sz="1600" dirty="0">
                <a:solidFill>
                  <a:schemeClr val="tx1"/>
                </a:solidFill>
              </a:rPr>
              <a:t>Footwear category an “opportunity”</a:t>
            </a:r>
          </a:p>
          <a:p>
            <a:pPr marL="285750" indent="-285750">
              <a:buFontTx/>
              <a:buChar char="-"/>
            </a:pPr>
            <a:r>
              <a:rPr lang="en-IN" sz="1600" dirty="0">
                <a:solidFill>
                  <a:schemeClr val="tx1"/>
                </a:solidFill>
              </a:rPr>
              <a:t>Explore possibility of entering physical stores especially “South East” </a:t>
            </a:r>
          </a:p>
        </p:txBody>
      </p:sp>
    </p:spTree>
    <p:extLst>
      <p:ext uri="{BB962C8B-B14F-4D97-AF65-F5344CB8AC3E}">
        <p14:creationId xmlns:p14="http://schemas.microsoft.com/office/powerpoint/2010/main" val="30101946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F2B3F77-2294-67CB-CB3E-4EFF388B0752}"/>
              </a:ext>
            </a:extLst>
          </p:cNvPr>
          <p:cNvSpPr txBox="1"/>
          <p:nvPr/>
        </p:nvSpPr>
        <p:spPr>
          <a:xfrm>
            <a:off x="0" y="3392420"/>
            <a:ext cx="12192000" cy="1569660"/>
          </a:xfrm>
          <a:prstGeom prst="rect">
            <a:avLst/>
          </a:prstGeom>
          <a:noFill/>
        </p:spPr>
        <p:txBody>
          <a:bodyPr wrap="square">
            <a:spAutoFit/>
          </a:bodyPr>
          <a:lstStyle/>
          <a:p>
            <a:pPr algn="ctr"/>
            <a:r>
              <a:rPr lang="en-US" sz="2400" b="1" dirty="0">
                <a:solidFill>
                  <a:srgbClr val="00B0F0"/>
                </a:solidFill>
              </a:rPr>
              <a:t>OBJECTIVE</a:t>
            </a:r>
            <a:endParaRPr lang="en-US" b="0" i="0" dirty="0">
              <a:effectLst/>
              <a:latin typeface="Söhne"/>
            </a:endParaRPr>
          </a:p>
          <a:p>
            <a:pPr marL="3943350" lvl="8" indent="-285750">
              <a:buFont typeface="Wingdings" panose="05000000000000000000" pitchFamily="2" charset="2"/>
              <a:buChar char="§"/>
            </a:pPr>
            <a:r>
              <a:rPr lang="en-US" dirty="0">
                <a:solidFill>
                  <a:srgbClr val="374151"/>
                </a:solidFill>
              </a:rPr>
              <a:t>Identify</a:t>
            </a:r>
            <a:r>
              <a:rPr lang="en-US" b="0" i="0" dirty="0">
                <a:solidFill>
                  <a:srgbClr val="374151"/>
                </a:solidFill>
                <a:effectLst/>
              </a:rPr>
              <a:t> the right number of distinct clusters</a:t>
            </a:r>
            <a:endParaRPr lang="en-US" b="0" i="0" dirty="0">
              <a:effectLst/>
            </a:endParaRPr>
          </a:p>
          <a:p>
            <a:pPr marL="3943350" lvl="8" indent="-285750">
              <a:buFont typeface="Wingdings" panose="05000000000000000000" pitchFamily="2" charset="2"/>
              <a:buChar char="§"/>
            </a:pPr>
            <a:r>
              <a:rPr lang="en-US" b="0" i="0" dirty="0">
                <a:effectLst/>
              </a:rPr>
              <a:t>Maximize the homogeneity within each cluster</a:t>
            </a:r>
          </a:p>
          <a:p>
            <a:pPr marL="3943350" lvl="8" indent="-285750">
              <a:buFont typeface="Wingdings" panose="05000000000000000000" pitchFamily="2" charset="2"/>
              <a:buChar char="§"/>
            </a:pPr>
            <a:r>
              <a:rPr lang="en-US" b="0" i="0" dirty="0">
                <a:solidFill>
                  <a:srgbClr val="374151"/>
                </a:solidFill>
                <a:effectLst/>
              </a:rPr>
              <a:t>Balance between model complexity and interpretability</a:t>
            </a:r>
          </a:p>
          <a:p>
            <a:pPr marL="3943350" lvl="8" indent="-285750">
              <a:buFont typeface="Wingdings" panose="05000000000000000000" pitchFamily="2" charset="2"/>
              <a:buChar char="§"/>
            </a:pPr>
            <a:r>
              <a:rPr lang="en-US" b="0" i="0" dirty="0">
                <a:solidFill>
                  <a:srgbClr val="374151"/>
                </a:solidFill>
                <a:effectLst/>
              </a:rPr>
              <a:t>Optimize for a specific business goal</a:t>
            </a:r>
            <a:endParaRPr lang="en-US" dirty="0">
              <a:solidFill>
                <a:srgbClr val="374151"/>
              </a:solidFill>
            </a:endParaRPr>
          </a:p>
        </p:txBody>
      </p:sp>
      <p:sp>
        <p:nvSpPr>
          <p:cNvPr id="19" name="TextBox 18">
            <a:extLst>
              <a:ext uri="{FF2B5EF4-FFF2-40B4-BE49-F238E27FC236}">
                <a16:creationId xmlns:a16="http://schemas.microsoft.com/office/drawing/2014/main" id="{710376DA-4C67-953F-2F84-B2EB980DA722}"/>
              </a:ext>
            </a:extLst>
          </p:cNvPr>
          <p:cNvSpPr txBox="1"/>
          <p:nvPr/>
        </p:nvSpPr>
        <p:spPr>
          <a:xfrm>
            <a:off x="0" y="1697949"/>
            <a:ext cx="12192000" cy="738664"/>
          </a:xfrm>
          <a:prstGeom prst="rect">
            <a:avLst/>
          </a:prstGeom>
          <a:noFill/>
        </p:spPr>
        <p:txBody>
          <a:bodyPr wrap="square" rtlCol="0">
            <a:spAutoFit/>
          </a:bodyPr>
          <a:lstStyle/>
          <a:p>
            <a:pPr algn="ctr"/>
            <a:r>
              <a:rPr lang="en-US" sz="2400" b="1" dirty="0">
                <a:solidFill>
                  <a:srgbClr val="00B0F0"/>
                </a:solidFill>
              </a:rPr>
              <a:t>PROBLEM STATEMENT</a:t>
            </a:r>
            <a:endParaRPr lang="en-US" sz="2400" dirty="0">
              <a:solidFill>
                <a:srgbClr val="000000"/>
              </a:solidFill>
            </a:endParaRPr>
          </a:p>
          <a:p>
            <a:pPr algn="ctr"/>
            <a:r>
              <a:rPr lang="en-US" dirty="0">
                <a:solidFill>
                  <a:srgbClr val="000000"/>
                </a:solidFill>
              </a:rPr>
              <a:t>Segment the retail stores into </a:t>
            </a:r>
            <a:r>
              <a:rPr lang="en-US" b="1" dirty="0">
                <a:solidFill>
                  <a:srgbClr val="000000"/>
                </a:solidFill>
              </a:rPr>
              <a:t>clusters</a:t>
            </a:r>
            <a:r>
              <a:rPr lang="en-US" dirty="0">
                <a:solidFill>
                  <a:srgbClr val="000000"/>
                </a:solidFill>
              </a:rPr>
              <a:t> using </a:t>
            </a:r>
            <a:r>
              <a:rPr lang="en-US" b="1" dirty="0">
                <a:solidFill>
                  <a:srgbClr val="000000"/>
                </a:solidFill>
              </a:rPr>
              <a:t>unsupervised learning</a:t>
            </a:r>
            <a:r>
              <a:rPr lang="en-US" dirty="0">
                <a:solidFill>
                  <a:srgbClr val="000000"/>
                </a:solidFill>
              </a:rPr>
              <a:t> to analyze the performance of its stores </a:t>
            </a:r>
            <a:endParaRPr lang="en-US" dirty="0"/>
          </a:p>
        </p:txBody>
      </p:sp>
    </p:spTree>
    <p:extLst>
      <p:ext uri="{BB962C8B-B14F-4D97-AF65-F5344CB8AC3E}">
        <p14:creationId xmlns:p14="http://schemas.microsoft.com/office/powerpoint/2010/main" val="39914167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3520" y="2684611"/>
            <a:ext cx="9532890" cy="1325563"/>
          </a:xfrm>
        </p:spPr>
        <p:txBody>
          <a:bodyPr/>
          <a:lstStyle/>
          <a:p>
            <a:r>
              <a:rPr lang="en-US" dirty="0">
                <a:latin typeface="Century Gothic" panose="020B0502020202020204" pitchFamily="34" charset="0"/>
              </a:rPr>
              <a:t>Thank You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4B069F8-76EA-0139-B798-D5299ECFFCE6}"/>
              </a:ext>
            </a:extLst>
          </p:cNvPr>
          <p:cNvSpPr>
            <a:spLocks noGrp="1"/>
          </p:cNvSpPr>
          <p:nvPr>
            <p:ph type="body" sz="quarter" idx="13"/>
          </p:nvPr>
        </p:nvSpPr>
        <p:spPr>
          <a:xfrm>
            <a:off x="616226" y="1152939"/>
            <a:ext cx="10942983" cy="482821"/>
          </a:xfrm>
        </p:spPr>
        <p:txBody>
          <a:bodyPr>
            <a:normAutofit fontScale="85000" lnSpcReduction="20000"/>
          </a:bodyPr>
          <a:lstStyle/>
          <a:p>
            <a:pPr marL="0" indent="0">
              <a:buNone/>
            </a:pPr>
            <a:r>
              <a:rPr lang="en-US" sz="2000" dirty="0">
                <a:solidFill>
                  <a:srgbClr val="000000"/>
                </a:solidFill>
                <a:latin typeface="Arial" panose="020B0604020202020204" pitchFamily="34" charset="0"/>
                <a:cs typeface="Arial" panose="020B0604020202020204" pitchFamily="34" charset="0"/>
              </a:rPr>
              <a:t>The data is of “Adidas” products for 6 retailers across cities of US with information on geography, channel type &amp; sales variables over 2 years. </a:t>
            </a:r>
          </a:p>
          <a:p>
            <a:pPr marL="0" indent="0">
              <a:buNone/>
            </a:pPr>
            <a:endParaRPr lang="en-US" sz="1800" b="1" dirty="0">
              <a:solidFill>
                <a:srgbClr val="00B0F0"/>
              </a:solidFill>
              <a:latin typeface="Arial" panose="020B0604020202020204" pitchFamily="34" charset="0"/>
              <a:cs typeface="Arial" panose="020B0604020202020204" pitchFamily="34" charset="0"/>
            </a:endParaRPr>
          </a:p>
          <a:p>
            <a:pPr marL="0" indent="0">
              <a:buNone/>
            </a:pPr>
            <a:endParaRPr lang="en-US" sz="1800" dirty="0">
              <a:solidFill>
                <a:srgbClr val="000000"/>
              </a:solidFill>
              <a:latin typeface="Arial" panose="020B0604020202020204" pitchFamily="34" charset="0"/>
              <a:cs typeface="Arial" panose="020B0604020202020204" pitchFamily="34" charset="0"/>
            </a:endParaRPr>
          </a:p>
          <a:p>
            <a:pPr marL="0" indent="0">
              <a:buNone/>
            </a:pPr>
            <a:endParaRPr lang="en-US" sz="1800" dirty="0">
              <a:solidFill>
                <a:srgbClr val="000000"/>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BE20E51B-5BB9-35C3-7DF5-C582B7D027F4}"/>
              </a:ext>
            </a:extLst>
          </p:cNvPr>
          <p:cNvSpPr>
            <a:spLocks noGrp="1"/>
          </p:cNvSpPr>
          <p:nvPr>
            <p:ph type="title"/>
          </p:nvPr>
        </p:nvSpPr>
        <p:spPr/>
        <p:txBody>
          <a:bodyPr>
            <a:normAutofit/>
          </a:bodyPr>
          <a:lstStyle/>
          <a:p>
            <a:r>
              <a:rPr lang="en-IN" sz="2800" b="1" dirty="0">
                <a:solidFill>
                  <a:schemeClr val="tx1"/>
                </a:solidFill>
                <a:latin typeface="Arial" panose="020B0604020202020204" pitchFamily="34" charset="0"/>
                <a:cs typeface="Arial" panose="020B0604020202020204" pitchFamily="34" charset="0"/>
              </a:rPr>
              <a:t>Data Overview</a:t>
            </a:r>
          </a:p>
        </p:txBody>
      </p:sp>
      <p:sp>
        <p:nvSpPr>
          <p:cNvPr id="11" name="TextBox 10">
            <a:extLst>
              <a:ext uri="{FF2B5EF4-FFF2-40B4-BE49-F238E27FC236}">
                <a16:creationId xmlns:a16="http://schemas.microsoft.com/office/drawing/2014/main" id="{6BB096D1-6223-83B3-041C-AC45141841D6}"/>
              </a:ext>
            </a:extLst>
          </p:cNvPr>
          <p:cNvSpPr txBox="1"/>
          <p:nvPr/>
        </p:nvSpPr>
        <p:spPr>
          <a:xfrm>
            <a:off x="7988300" y="1764414"/>
            <a:ext cx="1737360" cy="369332"/>
          </a:xfrm>
          <a:prstGeom prst="rect">
            <a:avLst/>
          </a:prstGeom>
          <a:noFill/>
        </p:spPr>
        <p:txBody>
          <a:bodyPr wrap="square">
            <a:spAutoFit/>
          </a:bodyPr>
          <a:lstStyle/>
          <a:p>
            <a:pPr marL="0" indent="0">
              <a:buNone/>
            </a:pPr>
            <a:r>
              <a:rPr lang="en-US" sz="1800" b="1" dirty="0">
                <a:solidFill>
                  <a:srgbClr val="00B0F0"/>
                </a:solidFill>
                <a:latin typeface="Arial" panose="020B0604020202020204" pitchFamily="34" charset="0"/>
                <a:cs typeface="Arial" panose="020B0604020202020204" pitchFamily="34" charset="0"/>
              </a:rPr>
              <a:t>FEATURES</a:t>
            </a:r>
          </a:p>
        </p:txBody>
      </p:sp>
      <p:sp>
        <p:nvSpPr>
          <p:cNvPr id="13" name="TextBox 12">
            <a:extLst>
              <a:ext uri="{FF2B5EF4-FFF2-40B4-BE49-F238E27FC236}">
                <a16:creationId xmlns:a16="http://schemas.microsoft.com/office/drawing/2014/main" id="{8E9E81D4-EF66-21F4-8664-CC76744B1C5A}"/>
              </a:ext>
            </a:extLst>
          </p:cNvPr>
          <p:cNvSpPr txBox="1"/>
          <p:nvPr/>
        </p:nvSpPr>
        <p:spPr>
          <a:xfrm>
            <a:off x="731520" y="1876475"/>
            <a:ext cx="6096000" cy="615553"/>
          </a:xfrm>
          <a:prstGeom prst="rect">
            <a:avLst/>
          </a:prstGeom>
          <a:noFill/>
        </p:spPr>
        <p:txBody>
          <a:bodyPr wrap="square">
            <a:spAutoFit/>
          </a:bodyPr>
          <a:lstStyle/>
          <a:p>
            <a:pPr marL="0" indent="0">
              <a:buNone/>
            </a:pPr>
            <a:r>
              <a:rPr lang="en-US" sz="1800" b="1" dirty="0">
                <a:solidFill>
                  <a:srgbClr val="00B0F0"/>
                </a:solidFill>
                <a:latin typeface="Arial" panose="020B0604020202020204" pitchFamily="34" charset="0"/>
                <a:cs typeface="Arial" panose="020B0604020202020204" pitchFamily="34" charset="0"/>
              </a:rPr>
              <a:t>TIME FRAME</a:t>
            </a:r>
          </a:p>
          <a:p>
            <a:pPr marL="0" indent="0">
              <a:buNone/>
            </a:pPr>
            <a:r>
              <a:rPr lang="en-US" sz="1600" dirty="0">
                <a:solidFill>
                  <a:srgbClr val="000000"/>
                </a:solidFill>
                <a:latin typeface="Arial" panose="020B0604020202020204" pitchFamily="34" charset="0"/>
                <a:cs typeface="Arial" panose="020B0604020202020204" pitchFamily="34" charset="0"/>
              </a:rPr>
              <a:t>2 years data from 1/1/2020 to 31/12/2021</a:t>
            </a:r>
          </a:p>
        </p:txBody>
      </p:sp>
      <p:graphicFrame>
        <p:nvGraphicFramePr>
          <p:cNvPr id="14" name="Table 13">
            <a:extLst>
              <a:ext uri="{FF2B5EF4-FFF2-40B4-BE49-F238E27FC236}">
                <a16:creationId xmlns:a16="http://schemas.microsoft.com/office/drawing/2014/main" id="{8AD6E783-41EA-E87D-2D5A-58F1F7E2F6D5}"/>
              </a:ext>
            </a:extLst>
          </p:cNvPr>
          <p:cNvGraphicFramePr>
            <a:graphicFrameLocks noGrp="1"/>
          </p:cNvGraphicFramePr>
          <p:nvPr/>
        </p:nvGraphicFramePr>
        <p:xfrm>
          <a:off x="7802880" y="2114696"/>
          <a:ext cx="2999740" cy="2181496"/>
        </p:xfrm>
        <a:graphic>
          <a:graphicData uri="http://schemas.openxmlformats.org/drawingml/2006/table">
            <a:tbl>
              <a:tblPr/>
              <a:tblGrid>
                <a:gridCol w="1337233">
                  <a:extLst>
                    <a:ext uri="{9D8B030D-6E8A-4147-A177-3AD203B41FA5}">
                      <a16:colId xmlns:a16="http://schemas.microsoft.com/office/drawing/2014/main" val="2185640424"/>
                    </a:ext>
                  </a:extLst>
                </a:gridCol>
                <a:gridCol w="1662507">
                  <a:extLst>
                    <a:ext uri="{9D8B030D-6E8A-4147-A177-3AD203B41FA5}">
                      <a16:colId xmlns:a16="http://schemas.microsoft.com/office/drawing/2014/main" val="467184951"/>
                    </a:ext>
                  </a:extLst>
                </a:gridCol>
              </a:tblGrid>
              <a:tr h="272687">
                <a:tc>
                  <a:txBody>
                    <a:bodyPr/>
                    <a:lstStyle/>
                    <a:p>
                      <a:pPr algn="ctr" fontAlgn="b"/>
                      <a:r>
                        <a:rPr lang="en-IN" sz="1600" b="1" i="0" u="none" strike="noStrike">
                          <a:solidFill>
                            <a:schemeClr val="tx1"/>
                          </a:solidFill>
                          <a:effectLst/>
                          <a:latin typeface="Calibri" panose="020F0502020204030204" pitchFamily="34" charset="0"/>
                        </a:rPr>
                        <a:t>Categorical</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ctr" fontAlgn="b"/>
                      <a:r>
                        <a:rPr lang="en-IN" sz="1600" b="1" i="0" u="none" strike="noStrike" dirty="0">
                          <a:solidFill>
                            <a:schemeClr val="tx1"/>
                          </a:solidFill>
                          <a:effectLst/>
                          <a:latin typeface="Calibri" panose="020F0502020204030204" pitchFamily="34" charset="0"/>
                        </a:rPr>
                        <a:t>Numerical</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190554582"/>
                  </a:ext>
                </a:extLst>
              </a:tr>
              <a:tr h="272687">
                <a:tc>
                  <a:txBody>
                    <a:bodyPr/>
                    <a:lstStyle/>
                    <a:p>
                      <a:pPr algn="ctr" fontAlgn="b"/>
                      <a:r>
                        <a:rPr lang="en-IN" sz="1600" b="0" i="0" u="none" strike="noStrike">
                          <a:solidFill>
                            <a:srgbClr val="000000"/>
                          </a:solidFill>
                          <a:effectLst/>
                          <a:latin typeface="Calibri" panose="020F0502020204030204" pitchFamily="34" charset="0"/>
                        </a:rPr>
                        <a:t>Retailer name</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Price per unit</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332576108"/>
                  </a:ext>
                </a:extLst>
              </a:tr>
              <a:tr h="272687">
                <a:tc>
                  <a:txBody>
                    <a:bodyPr/>
                    <a:lstStyle/>
                    <a:p>
                      <a:pPr algn="ctr" fontAlgn="b"/>
                      <a:r>
                        <a:rPr lang="en-IN" sz="1600" b="0" i="0" u="none" strike="noStrike">
                          <a:solidFill>
                            <a:srgbClr val="000000"/>
                          </a:solidFill>
                          <a:effectLst/>
                          <a:latin typeface="Calibri" panose="020F0502020204030204" pitchFamily="34" charset="0"/>
                        </a:rPr>
                        <a:t>Retailer ID</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Units Sold</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347504444"/>
                  </a:ext>
                </a:extLst>
              </a:tr>
              <a:tr h="272687">
                <a:tc>
                  <a:txBody>
                    <a:bodyPr/>
                    <a:lstStyle/>
                    <a:p>
                      <a:pPr algn="ctr" fontAlgn="b"/>
                      <a:r>
                        <a:rPr lang="en-IN" sz="1600" b="0" i="0" u="none" strike="noStrike">
                          <a:solidFill>
                            <a:srgbClr val="000000"/>
                          </a:solidFill>
                          <a:effectLst/>
                          <a:latin typeface="Calibri" panose="020F0502020204030204" pitchFamily="34" charset="0"/>
                        </a:rPr>
                        <a:t>Invoice Date</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Sales value</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890121044"/>
                  </a:ext>
                </a:extLst>
              </a:tr>
              <a:tr h="272687">
                <a:tc>
                  <a:txBody>
                    <a:bodyPr/>
                    <a:lstStyle/>
                    <a:p>
                      <a:pPr algn="ctr" fontAlgn="b"/>
                      <a:r>
                        <a:rPr lang="en-IN" sz="1600" b="0" i="0" u="none" strike="noStrike">
                          <a:solidFill>
                            <a:srgbClr val="000000"/>
                          </a:solidFill>
                          <a:effectLst/>
                          <a:latin typeface="Calibri" panose="020F0502020204030204" pitchFamily="34" charset="0"/>
                        </a:rPr>
                        <a:t>Region</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Operating profit</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538432866"/>
                  </a:ext>
                </a:extLst>
              </a:tr>
              <a:tr h="272687">
                <a:tc>
                  <a:txBody>
                    <a:bodyPr/>
                    <a:lstStyle/>
                    <a:p>
                      <a:pPr algn="ctr" fontAlgn="b"/>
                      <a:r>
                        <a:rPr lang="en-IN" sz="1600" b="0" i="0" u="none" strike="noStrike" dirty="0">
                          <a:solidFill>
                            <a:srgbClr val="000000"/>
                          </a:solidFill>
                          <a:effectLst/>
                          <a:latin typeface="Calibri" panose="020F0502020204030204" pitchFamily="34" charset="0"/>
                        </a:rPr>
                        <a:t>State</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Operating margin</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595900688"/>
                  </a:ext>
                </a:extLst>
              </a:tr>
              <a:tr h="272687">
                <a:tc>
                  <a:txBody>
                    <a:bodyPr/>
                    <a:lstStyle/>
                    <a:p>
                      <a:pPr algn="ctr" fontAlgn="b"/>
                      <a:r>
                        <a:rPr lang="en-IN" sz="1600" b="0" i="0" u="none" strike="noStrike" dirty="0">
                          <a:solidFill>
                            <a:srgbClr val="000000"/>
                          </a:solidFill>
                          <a:effectLst/>
                          <a:latin typeface="Calibri" panose="020F0502020204030204" pitchFamily="34" charset="0"/>
                        </a:rPr>
                        <a:t>Sales Method</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endParaRPr lang="en-IN" sz="16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48018944"/>
                  </a:ext>
                </a:extLst>
              </a:tr>
              <a:tr h="272687">
                <a:tc>
                  <a:txBody>
                    <a:bodyPr/>
                    <a:lstStyle/>
                    <a:p>
                      <a:pPr algn="ctr" fontAlgn="b"/>
                      <a:r>
                        <a:rPr lang="en-IN" sz="1600" b="0" i="0" u="none" strike="noStrike" dirty="0">
                          <a:solidFill>
                            <a:srgbClr val="000000"/>
                          </a:solidFill>
                          <a:effectLst/>
                          <a:latin typeface="Calibri" panose="020F0502020204030204" pitchFamily="34" charset="0"/>
                        </a:rPr>
                        <a:t>City</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 </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426340309"/>
                  </a:ext>
                </a:extLst>
              </a:tr>
            </a:tbl>
          </a:graphicData>
        </a:graphic>
      </p:graphicFrame>
      <p:graphicFrame>
        <p:nvGraphicFramePr>
          <p:cNvPr id="18" name="Table 17">
            <a:extLst>
              <a:ext uri="{FF2B5EF4-FFF2-40B4-BE49-F238E27FC236}">
                <a16:creationId xmlns:a16="http://schemas.microsoft.com/office/drawing/2014/main" id="{49C17451-078E-057A-6229-AAA97D2E429E}"/>
              </a:ext>
            </a:extLst>
          </p:cNvPr>
          <p:cNvGraphicFramePr>
            <a:graphicFrameLocks noGrp="1"/>
          </p:cNvGraphicFramePr>
          <p:nvPr/>
        </p:nvGraphicFramePr>
        <p:xfrm>
          <a:off x="868679" y="4854641"/>
          <a:ext cx="10083801" cy="1246660"/>
        </p:xfrm>
        <a:graphic>
          <a:graphicData uri="http://schemas.openxmlformats.org/drawingml/2006/table">
            <a:tbl>
              <a:tblPr/>
              <a:tblGrid>
                <a:gridCol w="677803">
                  <a:extLst>
                    <a:ext uri="{9D8B030D-6E8A-4147-A177-3AD203B41FA5}">
                      <a16:colId xmlns:a16="http://schemas.microsoft.com/office/drawing/2014/main" val="3716172458"/>
                    </a:ext>
                  </a:extLst>
                </a:gridCol>
                <a:gridCol w="678558">
                  <a:extLst>
                    <a:ext uri="{9D8B030D-6E8A-4147-A177-3AD203B41FA5}">
                      <a16:colId xmlns:a16="http://schemas.microsoft.com/office/drawing/2014/main" val="1830205048"/>
                    </a:ext>
                  </a:extLst>
                </a:gridCol>
                <a:gridCol w="688938">
                  <a:extLst>
                    <a:ext uri="{9D8B030D-6E8A-4147-A177-3AD203B41FA5}">
                      <a16:colId xmlns:a16="http://schemas.microsoft.com/office/drawing/2014/main" val="3164410498"/>
                    </a:ext>
                  </a:extLst>
                </a:gridCol>
                <a:gridCol w="594564">
                  <a:extLst>
                    <a:ext uri="{9D8B030D-6E8A-4147-A177-3AD203B41FA5}">
                      <a16:colId xmlns:a16="http://schemas.microsoft.com/office/drawing/2014/main" val="3090004137"/>
                    </a:ext>
                  </a:extLst>
                </a:gridCol>
                <a:gridCol w="570781">
                  <a:extLst>
                    <a:ext uri="{9D8B030D-6E8A-4147-A177-3AD203B41FA5}">
                      <a16:colId xmlns:a16="http://schemas.microsoft.com/office/drawing/2014/main" val="2692388006"/>
                    </a:ext>
                  </a:extLst>
                </a:gridCol>
                <a:gridCol w="570781">
                  <a:extLst>
                    <a:ext uri="{9D8B030D-6E8A-4147-A177-3AD203B41FA5}">
                      <a16:colId xmlns:a16="http://schemas.microsoft.com/office/drawing/2014/main" val="3316532588"/>
                    </a:ext>
                  </a:extLst>
                </a:gridCol>
                <a:gridCol w="1486409">
                  <a:extLst>
                    <a:ext uri="{9D8B030D-6E8A-4147-A177-3AD203B41FA5}">
                      <a16:colId xmlns:a16="http://schemas.microsoft.com/office/drawing/2014/main" val="555148251"/>
                    </a:ext>
                  </a:extLst>
                </a:gridCol>
                <a:gridCol w="796716">
                  <a:extLst>
                    <a:ext uri="{9D8B030D-6E8A-4147-A177-3AD203B41FA5}">
                      <a16:colId xmlns:a16="http://schemas.microsoft.com/office/drawing/2014/main" val="1357351254"/>
                    </a:ext>
                  </a:extLst>
                </a:gridCol>
                <a:gridCol w="606455">
                  <a:extLst>
                    <a:ext uri="{9D8B030D-6E8A-4147-A177-3AD203B41FA5}">
                      <a16:colId xmlns:a16="http://schemas.microsoft.com/office/drawing/2014/main" val="38399756"/>
                    </a:ext>
                  </a:extLst>
                </a:gridCol>
                <a:gridCol w="642128">
                  <a:extLst>
                    <a:ext uri="{9D8B030D-6E8A-4147-A177-3AD203B41FA5}">
                      <a16:colId xmlns:a16="http://schemas.microsoft.com/office/drawing/2014/main" val="2811443800"/>
                    </a:ext>
                  </a:extLst>
                </a:gridCol>
                <a:gridCol w="951302">
                  <a:extLst>
                    <a:ext uri="{9D8B030D-6E8A-4147-A177-3AD203B41FA5}">
                      <a16:colId xmlns:a16="http://schemas.microsoft.com/office/drawing/2014/main" val="2524882878"/>
                    </a:ext>
                  </a:extLst>
                </a:gridCol>
                <a:gridCol w="1022650">
                  <a:extLst>
                    <a:ext uri="{9D8B030D-6E8A-4147-A177-3AD203B41FA5}">
                      <a16:colId xmlns:a16="http://schemas.microsoft.com/office/drawing/2014/main" val="104790359"/>
                    </a:ext>
                  </a:extLst>
                </a:gridCol>
                <a:gridCol w="796716">
                  <a:extLst>
                    <a:ext uri="{9D8B030D-6E8A-4147-A177-3AD203B41FA5}">
                      <a16:colId xmlns:a16="http://schemas.microsoft.com/office/drawing/2014/main" val="191013771"/>
                    </a:ext>
                  </a:extLst>
                </a:gridCol>
              </a:tblGrid>
              <a:tr h="623330">
                <a:tc>
                  <a:txBody>
                    <a:bodyPr/>
                    <a:lstStyle/>
                    <a:p>
                      <a:pPr algn="ctr" fontAlgn="b"/>
                      <a:r>
                        <a:rPr lang="en-IN" sz="1600" b="1" i="0" u="none" strike="noStrike" dirty="0">
                          <a:solidFill>
                            <a:srgbClr val="FFFFFF"/>
                          </a:solidFill>
                          <a:effectLst/>
                          <a:latin typeface="Calibri" panose="020F0502020204030204" pitchFamily="34" charset="0"/>
                        </a:rPr>
                        <a:t>Retailer</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Retailer ID</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Invoice Date</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a:solidFill>
                            <a:srgbClr val="FFFFFF"/>
                          </a:solidFill>
                          <a:effectLst/>
                          <a:latin typeface="Calibri" panose="020F0502020204030204" pitchFamily="34" charset="0"/>
                        </a:rPr>
                        <a:t>Region</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State</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City</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Product</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Price per Unit</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Units Sold</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Total Sales</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Operating Profit</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Operating Margin</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tc>
                  <a:txBody>
                    <a:bodyPr/>
                    <a:lstStyle/>
                    <a:p>
                      <a:pPr algn="ctr" fontAlgn="b"/>
                      <a:r>
                        <a:rPr lang="en-IN" sz="1600" b="1" i="0" u="none" strike="noStrike" dirty="0">
                          <a:solidFill>
                            <a:srgbClr val="FFFFFF"/>
                          </a:solidFill>
                          <a:effectLst/>
                          <a:latin typeface="Calibri" panose="020F0502020204030204" pitchFamily="34" charset="0"/>
                        </a:rPr>
                        <a:t>Sales Method</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867518881"/>
                  </a:ext>
                </a:extLst>
              </a:tr>
              <a:tr h="623330">
                <a:tc>
                  <a:txBody>
                    <a:bodyPr/>
                    <a:lstStyle/>
                    <a:p>
                      <a:pPr algn="ctr" fontAlgn="b"/>
                      <a:r>
                        <a:rPr lang="en-IN" sz="1400" b="0" i="0" u="none" strike="noStrike" dirty="0">
                          <a:solidFill>
                            <a:srgbClr val="000000"/>
                          </a:solidFill>
                          <a:effectLst/>
                          <a:latin typeface="Calibri" panose="020F0502020204030204" pitchFamily="34" charset="0"/>
                        </a:rPr>
                        <a:t>Foot Locker</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11857</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1-01-2020</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North</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New York</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New York</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Men's Street Footwear</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50.00 </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1,200</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6,0 </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00,000 </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50%</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In-store</a:t>
                      </a:r>
                    </a:p>
                  </a:txBody>
                  <a:tcPr marL="6200" marR="6200" marT="6200" marB="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62209351"/>
                  </a:ext>
                </a:extLst>
              </a:tr>
            </a:tbl>
          </a:graphicData>
        </a:graphic>
      </p:graphicFrame>
      <p:sp>
        <p:nvSpPr>
          <p:cNvPr id="19" name="TextBox 18">
            <a:extLst>
              <a:ext uri="{FF2B5EF4-FFF2-40B4-BE49-F238E27FC236}">
                <a16:creationId xmlns:a16="http://schemas.microsoft.com/office/drawing/2014/main" id="{E2DFD444-1A54-3AC8-0914-618994526E35}"/>
              </a:ext>
            </a:extLst>
          </p:cNvPr>
          <p:cNvSpPr txBox="1"/>
          <p:nvPr/>
        </p:nvSpPr>
        <p:spPr>
          <a:xfrm>
            <a:off x="868678" y="4485309"/>
            <a:ext cx="2971801" cy="369332"/>
          </a:xfrm>
          <a:prstGeom prst="rect">
            <a:avLst/>
          </a:prstGeom>
          <a:noFill/>
        </p:spPr>
        <p:txBody>
          <a:bodyPr wrap="square">
            <a:spAutoFit/>
          </a:bodyPr>
          <a:lstStyle/>
          <a:p>
            <a:pPr marL="0" indent="0">
              <a:buNone/>
            </a:pPr>
            <a:r>
              <a:rPr lang="en-US" sz="1800" b="1" dirty="0">
                <a:solidFill>
                  <a:srgbClr val="00B0F0"/>
                </a:solidFill>
                <a:latin typeface="Arial" panose="020B0604020202020204" pitchFamily="34" charset="0"/>
                <a:cs typeface="Arial" panose="020B0604020202020204" pitchFamily="34" charset="0"/>
              </a:rPr>
              <a:t>DATASET SNAPSHOT</a:t>
            </a:r>
          </a:p>
        </p:txBody>
      </p:sp>
      <p:sp>
        <p:nvSpPr>
          <p:cNvPr id="4" name="TextBox 3">
            <a:extLst>
              <a:ext uri="{FF2B5EF4-FFF2-40B4-BE49-F238E27FC236}">
                <a16:creationId xmlns:a16="http://schemas.microsoft.com/office/drawing/2014/main" id="{A4C3EAF7-A1F8-9D0F-FEEE-5F5E8FB77357}"/>
              </a:ext>
            </a:extLst>
          </p:cNvPr>
          <p:cNvSpPr txBox="1"/>
          <p:nvPr/>
        </p:nvSpPr>
        <p:spPr>
          <a:xfrm>
            <a:off x="3385489" y="6313009"/>
            <a:ext cx="6340171" cy="276999"/>
          </a:xfrm>
          <a:prstGeom prst="rect">
            <a:avLst/>
          </a:prstGeom>
          <a:noFill/>
        </p:spPr>
        <p:txBody>
          <a:bodyPr wrap="square">
            <a:spAutoFit/>
          </a:bodyPr>
          <a:lstStyle/>
          <a:p>
            <a:r>
              <a:rPr lang="en-IN" sz="1200" b="0" i="0" dirty="0">
                <a:solidFill>
                  <a:srgbClr val="202124"/>
                </a:solidFill>
                <a:effectLst/>
                <a:latin typeface="Roboto" panose="02000000000000000000" pitchFamily="2" charset="0"/>
              </a:rPr>
              <a:t>Data Set Source - </a:t>
            </a:r>
            <a:r>
              <a:rPr lang="en-IN" sz="1200" b="0" i="0" u="sng" dirty="0">
                <a:solidFill>
                  <a:srgbClr val="1967D2"/>
                </a:solidFill>
                <a:effectLst/>
                <a:latin typeface="Roboto" panose="02000000000000000000" pitchFamily="2" charset="0"/>
                <a:hlinkClick r:id="rId2"/>
              </a:rPr>
              <a:t>https://data.world/stellabigail/adidas-us-sales-datasets</a:t>
            </a:r>
            <a:endParaRPr lang="en-IN" sz="1200" dirty="0"/>
          </a:p>
        </p:txBody>
      </p:sp>
    </p:spTree>
    <p:extLst>
      <p:ext uri="{BB962C8B-B14F-4D97-AF65-F5344CB8AC3E}">
        <p14:creationId xmlns:p14="http://schemas.microsoft.com/office/powerpoint/2010/main" val="3757934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331C66-FBC7-59F8-1F1A-6027B53B29A6}"/>
              </a:ext>
            </a:extLst>
          </p:cNvPr>
          <p:cNvSpPr>
            <a:spLocks noGrp="1"/>
          </p:cNvSpPr>
          <p:nvPr>
            <p:ph type="body" sz="quarter" idx="13"/>
          </p:nvPr>
        </p:nvSpPr>
        <p:spPr>
          <a:xfrm>
            <a:off x="616226" y="1152939"/>
            <a:ext cx="10942983" cy="320261"/>
          </a:xfrm>
        </p:spPr>
        <p:txBody>
          <a:bodyPr>
            <a:noAutofit/>
          </a:bodyPr>
          <a:lstStyle/>
          <a:p>
            <a:pPr marL="0" indent="0" algn="ctr">
              <a:buNone/>
            </a:pPr>
            <a:r>
              <a:rPr lang="en-IN" sz="2000" dirty="0">
                <a:latin typeface="Arial" panose="020B0604020202020204" pitchFamily="34" charset="0"/>
                <a:cs typeface="Arial" panose="020B0604020202020204" pitchFamily="34" charset="0"/>
              </a:rPr>
              <a:t>Checked the data set for number formatting, missing values, outliers, feature selection </a:t>
            </a:r>
          </a:p>
        </p:txBody>
      </p:sp>
      <p:sp>
        <p:nvSpPr>
          <p:cNvPr id="3" name="Title 2">
            <a:extLst>
              <a:ext uri="{FF2B5EF4-FFF2-40B4-BE49-F238E27FC236}">
                <a16:creationId xmlns:a16="http://schemas.microsoft.com/office/drawing/2014/main" id="{D43EABC4-2FF8-1957-C6CC-F252C86BDAF0}"/>
              </a:ext>
            </a:extLst>
          </p:cNvPr>
          <p:cNvSpPr>
            <a:spLocks noGrp="1"/>
          </p:cNvSpPr>
          <p:nvPr>
            <p:ph type="title"/>
          </p:nvPr>
        </p:nvSpPr>
        <p:spPr/>
        <p:txBody>
          <a:bodyPr vert="horz" lIns="91440" tIns="45720" rIns="91440" bIns="45720" rtlCol="0" anchor="ctr">
            <a:normAutofit/>
          </a:bodyPr>
          <a:lstStyle/>
          <a:p>
            <a:r>
              <a:rPr lang="en-IN" sz="2800" b="1" dirty="0">
                <a:solidFill>
                  <a:schemeClr val="tx1"/>
                </a:solidFill>
                <a:latin typeface="Arial" panose="020B0604020202020204" pitchFamily="34" charset="0"/>
                <a:cs typeface="Arial" panose="020B0604020202020204" pitchFamily="34" charset="0"/>
              </a:rPr>
              <a:t>Data Preparation and Pre-processing</a:t>
            </a:r>
          </a:p>
        </p:txBody>
      </p:sp>
      <p:pic>
        <p:nvPicPr>
          <p:cNvPr id="4" name="Content Placeholder 5">
            <a:extLst>
              <a:ext uri="{FF2B5EF4-FFF2-40B4-BE49-F238E27FC236}">
                <a16:creationId xmlns:a16="http://schemas.microsoft.com/office/drawing/2014/main" id="{7B585F4B-C116-F012-6670-B2EE6F7502CE}"/>
              </a:ext>
            </a:extLst>
          </p:cNvPr>
          <p:cNvPicPr>
            <a:picLocks noChangeAspect="1"/>
          </p:cNvPicPr>
          <p:nvPr/>
        </p:nvPicPr>
        <p:blipFill>
          <a:blip r:embed="rId2"/>
          <a:stretch>
            <a:fillRect/>
          </a:stretch>
        </p:blipFill>
        <p:spPr>
          <a:xfrm>
            <a:off x="6608188" y="2342258"/>
            <a:ext cx="3687209" cy="2745681"/>
          </a:xfrm>
          <a:prstGeom prst="rect">
            <a:avLst/>
          </a:prstGeom>
          <a:ln>
            <a:solidFill>
              <a:schemeClr val="bg1">
                <a:lumMod val="85000"/>
              </a:schemeClr>
            </a:solidFill>
          </a:ln>
        </p:spPr>
      </p:pic>
      <p:sp>
        <p:nvSpPr>
          <p:cNvPr id="5" name="Text Box 6">
            <a:extLst>
              <a:ext uri="{FF2B5EF4-FFF2-40B4-BE49-F238E27FC236}">
                <a16:creationId xmlns:a16="http://schemas.microsoft.com/office/drawing/2014/main" id="{F3E58DF2-2CEB-4318-63C7-84C512147BBD}"/>
              </a:ext>
            </a:extLst>
          </p:cNvPr>
          <p:cNvSpPr txBox="1"/>
          <p:nvPr/>
        </p:nvSpPr>
        <p:spPr>
          <a:xfrm>
            <a:off x="6608188" y="2019091"/>
            <a:ext cx="2230382" cy="307777"/>
          </a:xfrm>
          <a:prstGeom prst="rect">
            <a:avLst/>
          </a:prstGeom>
          <a:noFill/>
        </p:spPr>
        <p:txBody>
          <a:bodyPr wrap="square" rtlCol="0">
            <a:spAutoFit/>
          </a:bodyPr>
          <a:lstStyle/>
          <a:p>
            <a:r>
              <a:rPr lang="en-IN" altLang="en-US" sz="1400" dirty="0">
                <a:solidFill>
                  <a:srgbClr val="0070C0"/>
                </a:solidFill>
                <a:latin typeface="Arial" panose="020B0604020202020204" pitchFamily="34" charset="0"/>
                <a:cs typeface="Arial" panose="020B0604020202020204" pitchFamily="34" charset="0"/>
              </a:rPr>
              <a:t>DATA DESCRIPTION</a:t>
            </a:r>
          </a:p>
        </p:txBody>
      </p:sp>
      <p:sp>
        <p:nvSpPr>
          <p:cNvPr id="6" name="Text Box 6">
            <a:extLst>
              <a:ext uri="{FF2B5EF4-FFF2-40B4-BE49-F238E27FC236}">
                <a16:creationId xmlns:a16="http://schemas.microsoft.com/office/drawing/2014/main" id="{D35F69BB-FFB6-D38B-E855-BDD6B397C5E6}"/>
              </a:ext>
            </a:extLst>
          </p:cNvPr>
          <p:cNvSpPr txBox="1"/>
          <p:nvPr/>
        </p:nvSpPr>
        <p:spPr>
          <a:xfrm>
            <a:off x="133094" y="2003704"/>
            <a:ext cx="3571804" cy="307777"/>
          </a:xfrm>
          <a:prstGeom prst="rect">
            <a:avLst/>
          </a:prstGeom>
          <a:noFill/>
        </p:spPr>
        <p:txBody>
          <a:bodyPr wrap="square" rtlCol="0">
            <a:spAutoFit/>
          </a:bodyPr>
          <a:lstStyle/>
          <a:p>
            <a:r>
              <a:rPr lang="en-IN" altLang="en-US" sz="1400" dirty="0">
                <a:solidFill>
                  <a:srgbClr val="0070C0"/>
                </a:solidFill>
                <a:latin typeface="Arial" panose="020B0604020202020204" pitchFamily="34" charset="0"/>
                <a:cs typeface="Arial" panose="020B0604020202020204" pitchFamily="34" charset="0"/>
              </a:rPr>
              <a:t>NUMERICAL FEATURES INSIGHTS</a:t>
            </a:r>
          </a:p>
        </p:txBody>
      </p:sp>
      <p:pic>
        <p:nvPicPr>
          <p:cNvPr id="7" name="Content Placeholder 9">
            <a:extLst>
              <a:ext uri="{FF2B5EF4-FFF2-40B4-BE49-F238E27FC236}">
                <a16:creationId xmlns:a16="http://schemas.microsoft.com/office/drawing/2014/main" id="{D64FEB4D-A6CA-D8E2-761B-18D2A7EED23A}"/>
              </a:ext>
            </a:extLst>
          </p:cNvPr>
          <p:cNvPicPr>
            <a:picLocks noChangeAspect="1"/>
          </p:cNvPicPr>
          <p:nvPr/>
        </p:nvPicPr>
        <p:blipFill rotWithShape="1">
          <a:blip r:embed="rId3"/>
          <a:srcRect r="17731"/>
          <a:stretch/>
        </p:blipFill>
        <p:spPr>
          <a:xfrm>
            <a:off x="167076" y="2342258"/>
            <a:ext cx="6330807" cy="3059221"/>
          </a:xfrm>
          <a:prstGeom prst="rect">
            <a:avLst/>
          </a:prstGeom>
          <a:ln>
            <a:solidFill>
              <a:schemeClr val="bg1">
                <a:lumMod val="85000"/>
              </a:schemeClr>
            </a:solidFill>
          </a:ln>
        </p:spPr>
      </p:pic>
      <p:pic>
        <p:nvPicPr>
          <p:cNvPr id="8" name="Picture 7">
            <a:extLst>
              <a:ext uri="{FF2B5EF4-FFF2-40B4-BE49-F238E27FC236}">
                <a16:creationId xmlns:a16="http://schemas.microsoft.com/office/drawing/2014/main" id="{88DD0628-90D5-133B-21EE-B88E5F3659D8}"/>
              </a:ext>
            </a:extLst>
          </p:cNvPr>
          <p:cNvPicPr>
            <a:picLocks noChangeAspect="1"/>
          </p:cNvPicPr>
          <p:nvPr/>
        </p:nvPicPr>
        <p:blipFill rotWithShape="1">
          <a:blip r:embed="rId4"/>
          <a:srcRect r="54046" b="10899"/>
          <a:stretch/>
        </p:blipFill>
        <p:spPr>
          <a:xfrm>
            <a:off x="10405702" y="2342258"/>
            <a:ext cx="1542458" cy="2328756"/>
          </a:xfrm>
          <a:prstGeom prst="rect">
            <a:avLst/>
          </a:prstGeom>
          <a:ln>
            <a:solidFill>
              <a:schemeClr val="bg1">
                <a:lumMod val="85000"/>
              </a:schemeClr>
            </a:solidFill>
          </a:ln>
        </p:spPr>
      </p:pic>
      <p:sp>
        <p:nvSpPr>
          <p:cNvPr id="9" name="Text Box 6">
            <a:extLst>
              <a:ext uri="{FF2B5EF4-FFF2-40B4-BE49-F238E27FC236}">
                <a16:creationId xmlns:a16="http://schemas.microsoft.com/office/drawing/2014/main" id="{33F9F5F1-8CEC-7646-1C17-687FCE1781EF}"/>
              </a:ext>
            </a:extLst>
          </p:cNvPr>
          <p:cNvSpPr txBox="1"/>
          <p:nvPr/>
        </p:nvSpPr>
        <p:spPr>
          <a:xfrm>
            <a:off x="9859832" y="2034481"/>
            <a:ext cx="2634197" cy="307777"/>
          </a:xfrm>
          <a:prstGeom prst="rect">
            <a:avLst/>
          </a:prstGeom>
          <a:noFill/>
        </p:spPr>
        <p:txBody>
          <a:bodyPr wrap="square" rtlCol="0">
            <a:spAutoFit/>
          </a:bodyPr>
          <a:lstStyle>
            <a:defPPr>
              <a:defRPr lang="en-US"/>
            </a:defPPr>
            <a:lvl1pPr algn="ctr"/>
          </a:lstStyle>
          <a:p>
            <a:r>
              <a:rPr lang="en-IN" altLang="en-US" sz="1400" dirty="0">
                <a:solidFill>
                  <a:srgbClr val="0070C0"/>
                </a:solidFill>
                <a:latin typeface="Arial" panose="020B0604020202020204" pitchFamily="34" charset="0"/>
                <a:cs typeface="Arial" panose="020B0604020202020204" pitchFamily="34" charset="0"/>
              </a:rPr>
              <a:t>MISSING VALUE</a:t>
            </a:r>
          </a:p>
        </p:txBody>
      </p:sp>
    </p:spTree>
    <p:extLst>
      <p:ext uri="{BB962C8B-B14F-4D97-AF65-F5344CB8AC3E}">
        <p14:creationId xmlns:p14="http://schemas.microsoft.com/office/powerpoint/2010/main" val="35461488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331C66-FBC7-59F8-1F1A-6027B53B29A6}"/>
              </a:ext>
            </a:extLst>
          </p:cNvPr>
          <p:cNvSpPr>
            <a:spLocks noGrp="1"/>
          </p:cNvSpPr>
          <p:nvPr>
            <p:ph type="body" sz="quarter" idx="13"/>
          </p:nvPr>
        </p:nvSpPr>
        <p:spPr/>
        <p:txBody>
          <a:bodyPr>
            <a:noAutofit/>
          </a:bodyPr>
          <a:lstStyle/>
          <a:p>
            <a:pPr marL="0" indent="0">
              <a:buNone/>
            </a:pPr>
            <a:r>
              <a:rPr lang="en-IN" sz="2000" b="1" dirty="0">
                <a:solidFill>
                  <a:srgbClr val="00B0F0"/>
                </a:solidFill>
                <a:latin typeface="Arial" panose="020B0604020202020204" pitchFamily="34" charset="0"/>
                <a:cs typeface="Arial" panose="020B0604020202020204" pitchFamily="34" charset="0"/>
              </a:rPr>
              <a:t>COMPLETENESS</a:t>
            </a:r>
          </a:p>
          <a:p>
            <a:pPr marL="0" indent="0">
              <a:buNone/>
            </a:pPr>
            <a:r>
              <a:rPr lang="en-IN" sz="1800" dirty="0">
                <a:solidFill>
                  <a:schemeClr val="tx1"/>
                </a:solidFill>
                <a:latin typeface="Arial" panose="020B0604020202020204" pitchFamily="34" charset="0"/>
                <a:cs typeface="Arial" panose="020B0604020202020204" pitchFamily="34" charset="0"/>
              </a:rPr>
              <a:t>The data was clean with no missing values observed</a:t>
            </a:r>
          </a:p>
          <a:p>
            <a:pPr marL="0" indent="0">
              <a:buNone/>
            </a:pPr>
            <a:endParaRPr lang="en-IN" sz="2000" b="1" dirty="0">
              <a:solidFill>
                <a:srgbClr val="00B0F0"/>
              </a:solidFill>
              <a:latin typeface="Arial" panose="020B0604020202020204" pitchFamily="34" charset="0"/>
              <a:cs typeface="Arial" panose="020B0604020202020204" pitchFamily="34" charset="0"/>
            </a:endParaRPr>
          </a:p>
          <a:p>
            <a:pPr marL="0" indent="0">
              <a:buNone/>
            </a:pPr>
            <a:r>
              <a:rPr lang="en-IN" sz="2000" b="1" dirty="0">
                <a:solidFill>
                  <a:srgbClr val="00B0F0"/>
                </a:solidFill>
                <a:latin typeface="Arial" panose="020B0604020202020204" pitchFamily="34" charset="0"/>
                <a:cs typeface="Arial" panose="020B0604020202020204" pitchFamily="34" charset="0"/>
              </a:rPr>
              <a:t>OUTLIERS</a:t>
            </a:r>
          </a:p>
          <a:p>
            <a:pPr marL="0" indent="0">
              <a:buNone/>
            </a:pPr>
            <a:r>
              <a:rPr lang="en-IN" sz="1800" dirty="0">
                <a:solidFill>
                  <a:schemeClr val="tx1"/>
                </a:solidFill>
                <a:latin typeface="Arial" panose="020B0604020202020204" pitchFamily="34" charset="0"/>
                <a:cs typeface="Arial" panose="020B0604020202020204" pitchFamily="34" charset="0"/>
              </a:rPr>
              <a:t>Observed outliers but not treated them as these may become  part of a cluster subsequently</a:t>
            </a:r>
          </a:p>
          <a:p>
            <a:pPr marL="0" indent="0">
              <a:buNone/>
            </a:pPr>
            <a:endParaRPr lang="en-IN" sz="2000" b="1" dirty="0">
              <a:solidFill>
                <a:srgbClr val="00B0F0"/>
              </a:solidFill>
              <a:latin typeface="Arial" panose="020B0604020202020204" pitchFamily="34" charset="0"/>
              <a:cs typeface="Arial" panose="020B0604020202020204" pitchFamily="34" charset="0"/>
            </a:endParaRPr>
          </a:p>
          <a:p>
            <a:pPr marL="0" indent="0">
              <a:buNone/>
            </a:pPr>
            <a:r>
              <a:rPr lang="en-IN" sz="2000" b="1" dirty="0">
                <a:solidFill>
                  <a:srgbClr val="00B0F0"/>
                </a:solidFill>
                <a:latin typeface="Arial" panose="020B0604020202020204" pitchFamily="34" charset="0"/>
                <a:cs typeface="Arial" panose="020B0604020202020204" pitchFamily="34" charset="0"/>
              </a:rPr>
              <a:t>FEATURE SELECTION</a:t>
            </a:r>
          </a:p>
          <a:p>
            <a:pPr marL="0" indent="0">
              <a:buNone/>
            </a:pPr>
            <a:r>
              <a:rPr lang="en-IN" sz="1800" dirty="0">
                <a:solidFill>
                  <a:schemeClr val="tx1"/>
                </a:solidFill>
                <a:latin typeface="Arial" panose="020B0604020202020204" pitchFamily="34" charset="0"/>
                <a:cs typeface="Arial" panose="020B0604020202020204" pitchFamily="34" charset="0"/>
              </a:rPr>
              <a:t>Considered all numerical features. Removed “retailer id” as it’s not a relevant feature for clustering   </a:t>
            </a:r>
            <a:endParaRPr lang="en-IN" sz="2000" b="1" dirty="0">
              <a:solidFill>
                <a:srgbClr val="00B0F0"/>
              </a:solidFill>
              <a:latin typeface="Arial" panose="020B0604020202020204" pitchFamily="34" charset="0"/>
              <a:cs typeface="Arial" panose="020B0604020202020204" pitchFamily="34" charset="0"/>
            </a:endParaRPr>
          </a:p>
          <a:p>
            <a:pPr marL="0" indent="0">
              <a:buNone/>
            </a:pPr>
            <a:endParaRPr lang="en-IN" sz="2000" b="1" dirty="0">
              <a:solidFill>
                <a:srgbClr val="00B0F0"/>
              </a:solidFill>
              <a:latin typeface="Arial" panose="020B0604020202020204" pitchFamily="34" charset="0"/>
              <a:cs typeface="Arial" panose="020B0604020202020204" pitchFamily="34" charset="0"/>
            </a:endParaRPr>
          </a:p>
          <a:p>
            <a:pPr marL="0" indent="0">
              <a:buNone/>
            </a:pPr>
            <a:r>
              <a:rPr lang="en-IN" sz="2000" b="1" dirty="0">
                <a:solidFill>
                  <a:srgbClr val="00B0F0"/>
                </a:solidFill>
                <a:latin typeface="Arial" panose="020B0604020202020204" pitchFamily="34" charset="0"/>
                <a:cs typeface="Arial" panose="020B0604020202020204" pitchFamily="34" charset="0"/>
              </a:rPr>
              <a:t>NORMALIZATION </a:t>
            </a:r>
          </a:p>
          <a:p>
            <a:pPr marL="0" indent="0">
              <a:buNone/>
            </a:pPr>
            <a:r>
              <a:rPr lang="en-IN" sz="1800" dirty="0">
                <a:solidFill>
                  <a:schemeClr val="tx1"/>
                </a:solidFill>
                <a:latin typeface="Arial" panose="020B0604020202020204" pitchFamily="34" charset="0"/>
                <a:cs typeface="Arial" panose="020B0604020202020204" pitchFamily="34" charset="0"/>
              </a:rPr>
              <a:t>Used standard scaler to ensure all features are on the same scale </a:t>
            </a:r>
          </a:p>
          <a:p>
            <a:pPr marL="0" indent="0">
              <a:buNone/>
            </a:pPr>
            <a:endParaRPr lang="en-IN" sz="1800" dirty="0">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D43EABC4-2FF8-1957-C6CC-F252C86BDAF0}"/>
              </a:ext>
            </a:extLst>
          </p:cNvPr>
          <p:cNvSpPr>
            <a:spLocks noGrp="1"/>
          </p:cNvSpPr>
          <p:nvPr>
            <p:ph type="title"/>
          </p:nvPr>
        </p:nvSpPr>
        <p:spPr/>
        <p:txBody>
          <a:bodyPr vert="horz" lIns="91440" tIns="45720" rIns="91440" bIns="45720" rtlCol="0" anchor="ctr">
            <a:normAutofit/>
          </a:bodyPr>
          <a:lstStyle/>
          <a:p>
            <a:r>
              <a:rPr lang="en-IN" sz="2800" b="1" dirty="0">
                <a:solidFill>
                  <a:schemeClr val="tx1"/>
                </a:solidFill>
                <a:latin typeface="Arial" panose="020B0604020202020204" pitchFamily="34" charset="0"/>
                <a:cs typeface="Arial" panose="020B0604020202020204" pitchFamily="34" charset="0"/>
              </a:rPr>
              <a:t>Data Observations</a:t>
            </a:r>
          </a:p>
        </p:txBody>
      </p:sp>
    </p:spTree>
    <p:extLst>
      <p:ext uri="{BB962C8B-B14F-4D97-AF65-F5344CB8AC3E}">
        <p14:creationId xmlns:p14="http://schemas.microsoft.com/office/powerpoint/2010/main" val="2547993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72C4C0F-BD63-4B9D-8BCE-DE31E9AD9A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557" y="-2"/>
            <a:ext cx="12176037" cy="6858004"/>
          </a:xfrm>
          <a:prstGeom prst="rect">
            <a:avLst/>
          </a:prstGeom>
        </p:spPr>
      </p:pic>
      <p:sp>
        <p:nvSpPr>
          <p:cNvPr id="6" name="Title 5">
            <a:extLst>
              <a:ext uri="{FF2B5EF4-FFF2-40B4-BE49-F238E27FC236}">
                <a16:creationId xmlns:a16="http://schemas.microsoft.com/office/drawing/2014/main" id="{DE09016C-ACD1-4DC4-B76C-75002A6935EA}"/>
              </a:ext>
            </a:extLst>
          </p:cNvPr>
          <p:cNvSpPr txBox="1">
            <a:spLocks/>
          </p:cNvSpPr>
          <p:nvPr/>
        </p:nvSpPr>
        <p:spPr>
          <a:xfrm>
            <a:off x="307027" y="1411036"/>
            <a:ext cx="4432925" cy="10335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pPr marL="405079" lvl="1" algn="ctr" defTabSz="894091">
              <a:lnSpc>
                <a:spcPct val="114000"/>
              </a:lnSpc>
              <a:buClr>
                <a:srgbClr val="FFFFFF"/>
              </a:buClr>
              <a:buSzPct val="70000"/>
              <a:defRPr/>
            </a:pPr>
            <a:r>
              <a:rPr lang="en-IN" sz="3200" b="1" kern="0" dirty="0">
                <a:solidFill>
                  <a:srgbClr val="FFFFFF"/>
                </a:solidFill>
                <a:latin typeface="EYInterstate Light"/>
              </a:rPr>
              <a:t>Exploratory Data Analysis</a:t>
            </a:r>
          </a:p>
        </p:txBody>
      </p:sp>
      <p:sp>
        <p:nvSpPr>
          <p:cNvPr id="7" name="Rectangle 115">
            <a:extLst>
              <a:ext uri="{FF2B5EF4-FFF2-40B4-BE49-F238E27FC236}">
                <a16:creationId xmlns:a16="http://schemas.microsoft.com/office/drawing/2014/main" id="{EB10C61B-8E44-43F5-B86E-8E332EE8FB2C}"/>
              </a:ext>
            </a:extLst>
          </p:cNvPr>
          <p:cNvSpPr/>
          <p:nvPr/>
        </p:nvSpPr>
        <p:spPr>
          <a:xfrm>
            <a:off x="4882419" y="905649"/>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8" name="Rectangle 115">
            <a:extLst>
              <a:ext uri="{FF2B5EF4-FFF2-40B4-BE49-F238E27FC236}">
                <a16:creationId xmlns:a16="http://schemas.microsoft.com/office/drawing/2014/main" id="{D77BCBAB-234E-4568-B9DD-709F6DD364B5}"/>
              </a:ext>
            </a:extLst>
          </p:cNvPr>
          <p:cNvSpPr/>
          <p:nvPr/>
        </p:nvSpPr>
        <p:spPr>
          <a:xfrm>
            <a:off x="491343" y="905650"/>
            <a:ext cx="155367" cy="2215355"/>
          </a:xfrm>
          <a:custGeom>
            <a:avLst/>
            <a:gdLst>
              <a:gd name="connsiteX0" fmla="*/ 0 w 155367"/>
              <a:gd name="connsiteY0" fmla="*/ 0 h 1672603"/>
              <a:gd name="connsiteX1" fmla="*/ 155367 w 155367"/>
              <a:gd name="connsiteY1" fmla="*/ 0 h 1672603"/>
              <a:gd name="connsiteX2" fmla="*/ 155367 w 155367"/>
              <a:gd name="connsiteY2" fmla="*/ 1672603 h 1672603"/>
              <a:gd name="connsiteX3" fmla="*/ 0 w 155367"/>
              <a:gd name="connsiteY3" fmla="*/ 1672603 h 1672603"/>
              <a:gd name="connsiteX4" fmla="*/ 0 w 155367"/>
              <a:gd name="connsiteY4" fmla="*/ 0 h 1672603"/>
              <a:gd name="connsiteX0" fmla="*/ 0 w 155367"/>
              <a:gd name="connsiteY0" fmla="*/ 0 h 1672603"/>
              <a:gd name="connsiteX1" fmla="*/ 155367 w 155367"/>
              <a:gd name="connsiteY1" fmla="*/ 0 h 1672603"/>
              <a:gd name="connsiteX2" fmla="*/ 155367 w 155367"/>
              <a:gd name="connsiteY2" fmla="*/ 1672603 h 1672603"/>
              <a:gd name="connsiteX3" fmla="*/ 36129 w 155367"/>
              <a:gd name="connsiteY3" fmla="*/ 1671958 h 1672603"/>
              <a:gd name="connsiteX4" fmla="*/ 0 w 155367"/>
              <a:gd name="connsiteY4" fmla="*/ 1672603 h 1672603"/>
              <a:gd name="connsiteX5" fmla="*/ 0 w 155367"/>
              <a:gd name="connsiteY5" fmla="*/ 0 h 1672603"/>
              <a:gd name="connsiteX0" fmla="*/ 0 w 155367"/>
              <a:gd name="connsiteY0" fmla="*/ 0 h 1672603"/>
              <a:gd name="connsiteX1" fmla="*/ 155367 w 155367"/>
              <a:gd name="connsiteY1" fmla="*/ 0 h 1672603"/>
              <a:gd name="connsiteX2" fmla="*/ 155367 w 155367"/>
              <a:gd name="connsiteY2" fmla="*/ 1672603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2603"/>
              <a:gd name="connsiteX1" fmla="*/ 155367 w 155367"/>
              <a:gd name="connsiteY1" fmla="*/ 0 h 1672603"/>
              <a:gd name="connsiteX2" fmla="*/ 155367 w 155367"/>
              <a:gd name="connsiteY2" fmla="*/ 1624978 h 1672603"/>
              <a:gd name="connsiteX3" fmla="*/ 105185 w 155367"/>
              <a:gd name="connsiteY3" fmla="*/ 1669577 h 1672603"/>
              <a:gd name="connsiteX4" fmla="*/ 36129 w 155367"/>
              <a:gd name="connsiteY4" fmla="*/ 1671958 h 1672603"/>
              <a:gd name="connsiteX5" fmla="*/ 0 w 155367"/>
              <a:gd name="connsiteY5" fmla="*/ 1672603 h 1672603"/>
              <a:gd name="connsiteX6" fmla="*/ 0 w 155367"/>
              <a:gd name="connsiteY6" fmla="*/ 0 h 1672603"/>
              <a:gd name="connsiteX0" fmla="*/ 0 w 155367"/>
              <a:gd name="connsiteY0" fmla="*/ 0 h 1671958"/>
              <a:gd name="connsiteX1" fmla="*/ 155367 w 155367"/>
              <a:gd name="connsiteY1" fmla="*/ 0 h 1671958"/>
              <a:gd name="connsiteX2" fmla="*/ 155367 w 155367"/>
              <a:gd name="connsiteY2" fmla="*/ 1624978 h 1671958"/>
              <a:gd name="connsiteX3" fmla="*/ 105185 w 155367"/>
              <a:gd name="connsiteY3" fmla="*/ 1669577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24978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 name="connsiteX0" fmla="*/ 0 w 155367"/>
              <a:gd name="connsiteY0" fmla="*/ 0 h 1671958"/>
              <a:gd name="connsiteX1" fmla="*/ 155367 w 155367"/>
              <a:gd name="connsiteY1" fmla="*/ 0 h 1671958"/>
              <a:gd name="connsiteX2" fmla="*/ 155367 w 155367"/>
              <a:gd name="connsiteY2" fmla="*/ 1636941 h 1671958"/>
              <a:gd name="connsiteX3" fmla="*/ 109948 w 155367"/>
              <a:gd name="connsiteY3" fmla="*/ 1652908 h 1671958"/>
              <a:gd name="connsiteX4" fmla="*/ 36129 w 155367"/>
              <a:gd name="connsiteY4" fmla="*/ 1671958 h 1671958"/>
              <a:gd name="connsiteX5" fmla="*/ 0 w 155367"/>
              <a:gd name="connsiteY5" fmla="*/ 1670222 h 1671958"/>
              <a:gd name="connsiteX6" fmla="*/ 0 w 155367"/>
              <a:gd name="connsiteY6" fmla="*/ 0 h 167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7" h="1671958">
                <a:moveTo>
                  <a:pt x="0" y="0"/>
                </a:moveTo>
                <a:lnTo>
                  <a:pt x="155367" y="0"/>
                </a:lnTo>
                <a:lnTo>
                  <a:pt x="155367" y="1636941"/>
                </a:lnTo>
                <a:lnTo>
                  <a:pt x="109948" y="1652908"/>
                </a:lnTo>
                <a:lnTo>
                  <a:pt x="36129" y="1671958"/>
                </a:lnTo>
                <a:lnTo>
                  <a:pt x="0" y="1670222"/>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EYInterstate Light" panose="02000506000000020004" pitchFamily="2" charset="0"/>
              <a:cs typeface="Arial" panose="020B0604020202020204" pitchFamily="34" charset="0"/>
              <a:sym typeface="EYInterstate Light" panose="02000506000000020004" pitchFamily="2" charset="0"/>
            </a:endParaRPr>
          </a:p>
        </p:txBody>
      </p:sp>
    </p:spTree>
    <p:extLst>
      <p:ext uri="{BB962C8B-B14F-4D97-AF65-F5344CB8AC3E}">
        <p14:creationId xmlns:p14="http://schemas.microsoft.com/office/powerpoint/2010/main" val="2945699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25"/>
          <p:cNvSpPr>
            <a:spLocks noGrp="1"/>
          </p:cNvSpPr>
          <p:nvPr/>
        </p:nvSpPr>
        <p:spPr>
          <a:xfrm>
            <a:off x="643278" y="340360"/>
            <a:ext cx="9256525" cy="48079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a:solidFill>
                  <a:schemeClr val="tx1">
                    <a:lumMod val="85000"/>
                    <a:lumOff val="15000"/>
                  </a:schemeClr>
                </a:solidFill>
                <a:latin typeface="Arial Narrow" panose="020B0606020202030204" pitchFamily="34" charset="0"/>
                <a:ea typeface="+mj-ea"/>
                <a:cs typeface="+mj-cs"/>
              </a:defRPr>
            </a:lvl1pPr>
          </a:lstStyle>
          <a:p>
            <a:r>
              <a:rPr lang="en-US" sz="2800" b="1" kern="1200" dirty="0">
                <a:solidFill>
                  <a:schemeClr val="tx1"/>
                </a:solidFill>
                <a:latin typeface="Arial" panose="020B0604020202020204" pitchFamily="34" charset="0"/>
                <a:cs typeface="Arial" panose="020B0604020202020204" pitchFamily="34" charset="0"/>
              </a:rPr>
              <a:t>Exploratory Data Analysis -</a:t>
            </a:r>
            <a:r>
              <a:rPr lang="en-IN" altLang="en-US" sz="2800" b="1" kern="1200" dirty="0">
                <a:solidFill>
                  <a:schemeClr val="tx1"/>
                </a:solidFill>
                <a:latin typeface="Arial" panose="020B0604020202020204" pitchFamily="34" charset="0"/>
                <a:cs typeface="Arial" panose="020B0604020202020204" pitchFamily="34" charset="0"/>
              </a:rPr>
              <a:t> </a:t>
            </a:r>
            <a:r>
              <a:rPr lang="en-IN" altLang="en-US" sz="2000" b="1" kern="1200" dirty="0">
                <a:solidFill>
                  <a:srgbClr val="0070C0"/>
                </a:solidFill>
                <a:latin typeface="Arial" panose="020B0604020202020204" pitchFamily="34" charset="0"/>
                <a:cs typeface="Arial" panose="020B0604020202020204" pitchFamily="34" charset="0"/>
              </a:rPr>
              <a:t>Univariate</a:t>
            </a:r>
            <a:endParaRPr lang="en-IN" altLang="en-US" sz="2800" b="1" kern="1200" dirty="0">
              <a:solidFill>
                <a:srgbClr val="0070C0"/>
              </a:solidFill>
              <a:latin typeface="Arial" panose="020B0604020202020204" pitchFamily="34" charset="0"/>
              <a:cs typeface="Arial" panose="020B0604020202020204" pitchFamily="34" charset="0"/>
            </a:endParaRPr>
          </a:p>
        </p:txBody>
      </p:sp>
      <p:sp>
        <p:nvSpPr>
          <p:cNvPr id="7" name="Text Placeholder 26"/>
          <p:cNvSpPr txBox="1"/>
          <p:nvPr/>
        </p:nvSpPr>
        <p:spPr>
          <a:xfrm>
            <a:off x="593649" y="1247005"/>
            <a:ext cx="3271170" cy="4665306"/>
          </a:xfrm>
          <a:prstGeom prst="rect">
            <a:avLst/>
          </a:prstGeom>
          <a:ln>
            <a:solidFill>
              <a:schemeClr val="bg2"/>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Tx/>
              <a:buBlip>
                <a:blip r:embed="rId2"/>
              </a:buBlip>
              <a:defRPr sz="16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Tx/>
              <a:buBlip>
                <a:blip r:embed="rId3"/>
              </a:buBlip>
              <a:defRPr sz="16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buFont typeface="Arial" panose="020B0604020202020204" pitchFamily="34" charset="0"/>
              <a:buChar char="•"/>
            </a:pPr>
            <a:r>
              <a:rPr lang="en-US" b="0" i="0" u="none" strike="noStrike" dirty="0">
                <a:solidFill>
                  <a:srgbClr val="000000"/>
                </a:solidFill>
                <a:effectLst/>
                <a:cs typeface="Arial" panose="020B0604020202020204" pitchFamily="34" charset="0"/>
              </a:rPr>
              <a:t>Footlocker is the most frequent occurring retailer in the dataset</a:t>
            </a:r>
            <a:r>
              <a:rPr lang="en-US" b="0" i="0" dirty="0">
                <a:solidFill>
                  <a:srgbClr val="000000"/>
                </a:solidFill>
                <a:effectLst/>
                <a:cs typeface="Arial" panose="020B0604020202020204" pitchFamily="34" charset="0"/>
              </a:rPr>
              <a:t>​</a:t>
            </a:r>
          </a:p>
          <a:p>
            <a:pPr algn="l" rtl="0" fontAlgn="base">
              <a:buFont typeface="Arial" panose="020B0604020202020204" pitchFamily="34" charset="0"/>
              <a:buChar char="•"/>
            </a:pPr>
            <a:r>
              <a:rPr lang="en-US" b="0" i="0" dirty="0">
                <a:solidFill>
                  <a:srgbClr val="000000"/>
                </a:solidFill>
                <a:effectLst/>
                <a:cs typeface="Arial" panose="020B0604020202020204" pitchFamily="34" charset="0"/>
              </a:rPr>
              <a:t>​</a:t>
            </a:r>
            <a:r>
              <a:rPr lang="en-US" b="0" i="0" u="none" strike="noStrike" dirty="0">
                <a:solidFill>
                  <a:srgbClr val="000000"/>
                </a:solidFill>
                <a:effectLst/>
                <a:cs typeface="Arial" panose="020B0604020202020204" pitchFamily="34" charset="0"/>
              </a:rPr>
              <a:t>Total Sales, Operating profit, and Units Sold are interrelated and are </a:t>
            </a:r>
            <a:r>
              <a:rPr lang="en-US" i="1" u="none" strike="noStrike" dirty="0">
                <a:solidFill>
                  <a:srgbClr val="000000"/>
                </a:solidFill>
                <a:effectLst/>
                <a:cs typeface="Arial" panose="020B0604020202020204" pitchFamily="34" charset="0"/>
              </a:rPr>
              <a:t>right skewed</a:t>
            </a:r>
            <a:r>
              <a:rPr lang="en-US" b="0" i="0" dirty="0">
                <a:solidFill>
                  <a:srgbClr val="000000"/>
                </a:solidFill>
                <a:effectLst/>
                <a:cs typeface="Arial" panose="020B0604020202020204" pitchFamily="34" charset="0"/>
              </a:rPr>
              <a:t>​</a:t>
            </a:r>
          </a:p>
          <a:p>
            <a:pPr algn="l" rtl="0" fontAlgn="base">
              <a:buFont typeface="Arial" panose="020B0604020202020204" pitchFamily="34" charset="0"/>
              <a:buChar char="•"/>
            </a:pPr>
            <a:r>
              <a:rPr lang="en-US" b="0" i="0" dirty="0">
                <a:solidFill>
                  <a:srgbClr val="000000"/>
                </a:solidFill>
                <a:effectLst/>
                <a:cs typeface="Arial" panose="020B0604020202020204" pitchFamily="34" charset="0"/>
              </a:rPr>
              <a:t>​</a:t>
            </a:r>
            <a:r>
              <a:rPr lang="en-US" b="0" i="0" u="none" strike="noStrike" dirty="0">
                <a:solidFill>
                  <a:srgbClr val="000000"/>
                </a:solidFill>
                <a:effectLst/>
                <a:cs typeface="Arial" panose="020B0604020202020204" pitchFamily="34" charset="0"/>
              </a:rPr>
              <a:t>'Price Per unit' is normally distributed.</a:t>
            </a:r>
          </a:p>
          <a:p>
            <a:pPr algn="l" rtl="0" fontAlgn="base">
              <a:buFont typeface="Arial" panose="020B0604020202020204" pitchFamily="34" charset="0"/>
              <a:buChar char="•"/>
            </a:pPr>
            <a:r>
              <a:rPr lang="en-US" b="0" i="0" u="none" strike="noStrike" dirty="0">
                <a:solidFill>
                  <a:srgbClr val="000000"/>
                </a:solidFill>
                <a:effectLst/>
                <a:cs typeface="Arial" panose="020B0604020202020204" pitchFamily="34" charset="0"/>
              </a:rPr>
              <a:t>'Operating Margin' almost takes the shape of a bell</a:t>
            </a:r>
            <a:r>
              <a:rPr lang="en-US" b="0" i="0" dirty="0">
                <a:solidFill>
                  <a:srgbClr val="000000"/>
                </a:solidFill>
                <a:effectLst/>
                <a:cs typeface="Arial" panose="020B0604020202020204" pitchFamily="34" charset="0"/>
              </a:rPr>
              <a:t>​</a:t>
            </a:r>
            <a:endParaRPr lang="en-US" dirty="0">
              <a:solidFill>
                <a:srgbClr val="000000"/>
              </a:solidFill>
              <a:cs typeface="Arial" panose="020B0604020202020204" pitchFamily="34" charset="0"/>
            </a:endParaRPr>
          </a:p>
          <a:p>
            <a:pPr algn="l" rtl="0" fontAlgn="base">
              <a:buFont typeface="Arial" panose="020B0604020202020204" pitchFamily="34" charset="0"/>
              <a:buChar char="•"/>
            </a:pPr>
            <a:r>
              <a:rPr lang="en-US" b="0" i="0" u="none" strike="noStrike" dirty="0">
                <a:solidFill>
                  <a:srgbClr val="000000"/>
                </a:solidFill>
                <a:effectLst/>
                <a:cs typeface="Arial" panose="020B0604020202020204" pitchFamily="34" charset="0"/>
              </a:rPr>
              <a:t>Online sales are the highest</a:t>
            </a:r>
            <a:r>
              <a:rPr lang="en-US" b="0" i="0" dirty="0">
                <a:solidFill>
                  <a:srgbClr val="000000"/>
                </a:solidFill>
                <a:effectLst/>
                <a:cs typeface="Arial" panose="020B0604020202020204" pitchFamily="34" charset="0"/>
              </a:rPr>
              <a:t>​</a:t>
            </a:r>
            <a:endParaRPr lang="en-US" dirty="0">
              <a:solidFill>
                <a:srgbClr val="000000"/>
              </a:solidFill>
              <a:cs typeface="Arial" panose="020B0604020202020204" pitchFamily="34" charset="0"/>
            </a:endParaRPr>
          </a:p>
          <a:p>
            <a:pPr algn="l" rtl="0" fontAlgn="base">
              <a:buFont typeface="Arial" panose="020B0604020202020204" pitchFamily="34" charset="0"/>
              <a:buChar char="•"/>
            </a:pPr>
            <a:r>
              <a:rPr lang="en-US" b="0" i="0" u="none" strike="noStrike" dirty="0">
                <a:solidFill>
                  <a:srgbClr val="000000"/>
                </a:solidFill>
                <a:effectLst/>
                <a:cs typeface="Arial" panose="020B0604020202020204" pitchFamily="34" charset="0"/>
              </a:rPr>
              <a:t>All products are almost equally distributed</a:t>
            </a:r>
            <a:r>
              <a:rPr lang="en-US" b="0" i="0" dirty="0">
                <a:solidFill>
                  <a:srgbClr val="000000"/>
                </a:solidFill>
                <a:effectLst/>
                <a:cs typeface="Arial" panose="020B0604020202020204" pitchFamily="34" charset="0"/>
              </a:rPr>
              <a:t>​</a:t>
            </a:r>
            <a:endParaRPr lang="en-US" dirty="0">
              <a:solidFill>
                <a:srgbClr val="000000"/>
              </a:solidFill>
              <a:cs typeface="Arial" panose="020B0604020202020204" pitchFamily="34" charset="0"/>
            </a:endParaRPr>
          </a:p>
          <a:p>
            <a:pPr algn="l" rtl="0" fontAlgn="base">
              <a:buFont typeface="Arial" panose="020B0604020202020204" pitchFamily="34" charset="0"/>
              <a:buChar char="•"/>
            </a:pPr>
            <a:r>
              <a:rPr lang="en-US" b="0" i="0" u="none" strike="noStrike" dirty="0">
                <a:solidFill>
                  <a:srgbClr val="000000"/>
                </a:solidFill>
                <a:effectLst/>
                <a:cs typeface="Arial" panose="020B0604020202020204" pitchFamily="34" charset="0"/>
              </a:rPr>
              <a:t>North-east and West contribute to the most observed regions throughout the dataset</a:t>
            </a:r>
            <a:r>
              <a:rPr lang="en-US" b="0" i="0" dirty="0">
                <a:solidFill>
                  <a:srgbClr val="000000"/>
                </a:solidFill>
                <a:effectLst/>
                <a:cs typeface="Arial" panose="020B0604020202020204" pitchFamily="34" charset="0"/>
              </a:rPr>
              <a:t>​</a:t>
            </a:r>
          </a:p>
        </p:txBody>
      </p:sp>
      <p:pic>
        <p:nvPicPr>
          <p:cNvPr id="8194" name="Picture 2">
            <a:extLst>
              <a:ext uri="{FF2B5EF4-FFF2-40B4-BE49-F238E27FC236}">
                <a16:creationId xmlns:a16="http://schemas.microsoft.com/office/drawing/2014/main" id="{38937317-E0F2-4ABA-8340-4FAF1672B8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45209" y="1042987"/>
            <a:ext cx="7829550" cy="47720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8E58E3C-DDD0-46FC-A81D-E95E3884D6AE}"/>
              </a:ext>
            </a:extLst>
          </p:cNvPr>
          <p:cNvSpPr txBox="1"/>
          <p:nvPr/>
        </p:nvSpPr>
        <p:spPr>
          <a:xfrm flipH="1">
            <a:off x="561872" y="1001838"/>
            <a:ext cx="63555" cy="4932000"/>
          </a:xfrm>
          <a:prstGeom prst="rect">
            <a:avLst/>
          </a:prstGeom>
          <a:solidFill>
            <a:schemeClr val="tx1"/>
          </a:solidFill>
        </p:spPr>
        <p:txBody>
          <a:bodyPr wrap="square">
            <a:spAutoFit/>
          </a:bodyPr>
          <a:lstStyle/>
          <a:p>
            <a:pPr algn="ctr"/>
            <a:endParaRPr lang="en-IN" b="1"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A2EB50D-CB64-4DCD-8FBA-E9D90C5FBA16}"/>
              </a:ext>
            </a:extLst>
          </p:cNvPr>
          <p:cNvSpPr txBox="1"/>
          <p:nvPr/>
        </p:nvSpPr>
        <p:spPr>
          <a:xfrm>
            <a:off x="561872" y="932072"/>
            <a:ext cx="1660603" cy="307777"/>
          </a:xfrm>
          <a:prstGeom prst="rect">
            <a:avLst/>
          </a:prstGeom>
          <a:solidFill>
            <a:srgbClr val="00B0F0"/>
          </a:solidFill>
        </p:spPr>
        <p:txBody>
          <a:bodyPr wrap="square">
            <a:spAutoFit/>
          </a:bodyPr>
          <a:lstStyle/>
          <a:p>
            <a:pPr algn="ctr"/>
            <a:r>
              <a:rPr lang="en-IN" sz="1400" b="1" dirty="0">
                <a:solidFill>
                  <a:schemeClr val="bg1"/>
                </a:solidFill>
                <a:latin typeface="Arial" panose="020B0604020202020204" pitchFamily="34" charset="0"/>
                <a:cs typeface="Arial" panose="020B0604020202020204" pitchFamily="34" charset="0"/>
              </a:rPr>
              <a:t>Key Highlights</a:t>
            </a:r>
            <a:endParaRPr lang="en-IN" b="1" dirty="0">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BB68D70F-17D2-F460-F04E-F9E63238A04A}"/>
              </a:ext>
            </a:extLst>
          </p:cNvPr>
          <p:cNvGrpSpPr/>
          <p:nvPr/>
        </p:nvGrpSpPr>
        <p:grpSpPr>
          <a:xfrm>
            <a:off x="3161712" y="6299850"/>
            <a:ext cx="7743893" cy="434026"/>
            <a:chOff x="3161712" y="6299850"/>
            <a:chExt cx="7743893" cy="434026"/>
          </a:xfrm>
        </p:grpSpPr>
        <p:cxnSp>
          <p:nvCxnSpPr>
            <p:cNvPr id="3" name="Straight Connector 2">
              <a:extLst>
                <a:ext uri="{FF2B5EF4-FFF2-40B4-BE49-F238E27FC236}">
                  <a16:creationId xmlns:a16="http://schemas.microsoft.com/office/drawing/2014/main" id="{40190053-B364-732A-B3B5-436EEE367A9B}"/>
                </a:ext>
              </a:extLst>
            </p:cNvPr>
            <p:cNvCxnSpPr/>
            <p:nvPr/>
          </p:nvCxnSpPr>
          <p:spPr>
            <a:xfrm>
              <a:off x="3161712" y="6544331"/>
              <a:ext cx="752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8B6F59BF-52EA-C63F-2E8B-427E2C15888F}"/>
                </a:ext>
              </a:extLst>
            </p:cNvPr>
            <p:cNvCxnSpPr/>
            <p:nvPr/>
          </p:nvCxnSpPr>
          <p:spPr>
            <a:xfrm>
              <a:off x="10905605" y="6299850"/>
              <a:ext cx="0" cy="43402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5" name="Picture 4" descr="Logo&#10;&#10;Description automatically generated with medium confidence">
            <a:extLst>
              <a:ext uri="{FF2B5EF4-FFF2-40B4-BE49-F238E27FC236}">
                <a16:creationId xmlns:a16="http://schemas.microsoft.com/office/drawing/2014/main" id="{DC206F46-284A-7AF7-7773-A8CEF5848B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89835" y="6353816"/>
            <a:ext cx="1057729" cy="504184"/>
          </a:xfrm>
          <a:prstGeom prst="rect">
            <a:avLst/>
          </a:prstGeom>
        </p:spPr>
      </p:pic>
      <p:sp>
        <p:nvSpPr>
          <p:cNvPr id="8" name="TextBox 7">
            <a:extLst>
              <a:ext uri="{FF2B5EF4-FFF2-40B4-BE49-F238E27FC236}">
                <a16:creationId xmlns:a16="http://schemas.microsoft.com/office/drawing/2014/main" id="{DF6B007A-CDED-4A9D-33DD-13830A1A3DFE}"/>
              </a:ext>
            </a:extLst>
          </p:cNvPr>
          <p:cNvSpPr txBox="1"/>
          <p:nvPr/>
        </p:nvSpPr>
        <p:spPr>
          <a:xfrm>
            <a:off x="376730" y="6405832"/>
            <a:ext cx="2863733" cy="276999"/>
          </a:xfrm>
          <a:prstGeom prst="rect">
            <a:avLst/>
          </a:prstGeom>
          <a:noFill/>
        </p:spPr>
        <p:txBody>
          <a:bodyPr wrap="none" rtlCol="0">
            <a:spAutoFit/>
          </a:bodyPr>
          <a:lstStyle/>
          <a:p>
            <a:r>
              <a:rPr lang="en-IN" sz="1200" b="0" i="0" kern="1200" dirty="0">
                <a:solidFill>
                  <a:schemeClr val="tx1"/>
                </a:solidFill>
                <a:effectLst/>
                <a:latin typeface="+mn-lt"/>
                <a:ea typeface="+mn-ea"/>
                <a:cs typeface="+mn-cs"/>
              </a:rPr>
              <a:t>© 2023 Jigsaw Academy Education Pvt Lt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9F1A3-759F-4DAF-BB11-CCF966185F4A}"/>
              </a:ext>
            </a:extLst>
          </p:cNvPr>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5" name="Object 14" hidden="1">
                        <a:extLst>
                          <a:ext uri="{FF2B5EF4-FFF2-40B4-BE49-F238E27FC236}">
                            <a16:creationId xmlns:a16="http://schemas.microsoft.com/office/drawing/2014/main" id="{EC09F1A3-759F-4DAF-BB11-CCF966185F4A}"/>
                          </a:ext>
                        </a:extLst>
                      </p:cNvPr>
                      <p:cNvPicPr/>
                      <p:nvPr/>
                    </p:nvPicPr>
                    <p:blipFill>
                      <a:blip r:embed="rId6"/>
                      <a:stretch>
                        <a:fillRect/>
                      </a:stretch>
                    </p:blipFill>
                    <p:spPr>
                      <a:xfrm>
                        <a:off x="-158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542B52-395D-44F2-B432-F769FC2834A7}"/>
              </a:ext>
            </a:extLst>
          </p:cNvPr>
          <p:cNvSpPr/>
          <p:nvPr>
            <p:custDataLst>
              <p:tags r:id="rId2"/>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200" dirty="0" err="1">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D8469D94-9C48-43CF-AAE1-DBF0D2BF4F69}"/>
              </a:ext>
            </a:extLst>
          </p:cNvPr>
          <p:cNvSpPr>
            <a:spLocks noGrp="1"/>
          </p:cNvSpPr>
          <p:nvPr>
            <p:ph type="title"/>
          </p:nvPr>
        </p:nvSpPr>
        <p:spPr>
          <a:xfrm>
            <a:off x="612648" y="294200"/>
            <a:ext cx="6367272" cy="590400"/>
          </a:xfrm>
        </p:spPr>
        <p:txBody>
          <a:bodyPr vert="horz"/>
          <a:lstStyle/>
          <a:p>
            <a:r>
              <a:rPr lang="en-US" dirty="0">
                <a:latin typeface="Arial" panose="020B0604020202020204" pitchFamily="34" charset="0"/>
                <a:sym typeface="EYInterstate Light" panose="02000506000000020004" pitchFamily="2" charset="0"/>
              </a:rPr>
              <a:t>Bivariate Analysis (TBA)</a:t>
            </a:r>
          </a:p>
        </p:txBody>
      </p:sp>
      <p:sp>
        <p:nvSpPr>
          <p:cNvPr id="27" name="TextBox 26">
            <a:extLst>
              <a:ext uri="{FF2B5EF4-FFF2-40B4-BE49-F238E27FC236}">
                <a16:creationId xmlns:a16="http://schemas.microsoft.com/office/drawing/2014/main" id="{2659B1BE-2CA4-4E72-9F79-C4CC384AF878}"/>
              </a:ext>
            </a:extLst>
          </p:cNvPr>
          <p:cNvSpPr txBox="1"/>
          <p:nvPr/>
        </p:nvSpPr>
        <p:spPr>
          <a:xfrm>
            <a:off x="506203" y="1315756"/>
            <a:ext cx="11192081" cy="1461939"/>
          </a:xfrm>
          <a:prstGeom prst="rect">
            <a:avLst/>
          </a:prstGeom>
          <a:solidFill>
            <a:schemeClr val="bg2">
              <a:alpha val="15000"/>
            </a:schemeClr>
          </a:solidFill>
          <a:ln>
            <a:solidFill>
              <a:schemeClr val="bg2"/>
            </a:solidFill>
          </a:ln>
        </p:spPr>
        <p:txBody>
          <a:bodyPr wrap="square" anchor="ctr">
            <a:spAutoFit/>
          </a:bodyPr>
          <a:lstStyle/>
          <a:p>
            <a:pPr marL="171450" indent="-171450">
              <a:spcBef>
                <a:spcPts val="900"/>
              </a:spcBef>
              <a:spcAft>
                <a:spcPts val="600"/>
              </a:spcAft>
              <a:buFont typeface="Wingdings" panose="05000000000000000000" pitchFamily="2" charset="2"/>
              <a:buChar char="ü"/>
            </a:pPr>
            <a:r>
              <a:rPr lang="en-IN" sz="1600" dirty="0">
                <a:cs typeface="Arial" panose="020B0604020202020204" pitchFamily="34" charset="0"/>
              </a:rPr>
              <a:t>In first couple of month data available for only West gear &amp; Footlocker. Most retailers data available consistently from Jan2021 onwards</a:t>
            </a:r>
          </a:p>
          <a:p>
            <a:pPr marL="171450" indent="-171450">
              <a:spcBef>
                <a:spcPts val="900"/>
              </a:spcBef>
              <a:spcAft>
                <a:spcPts val="600"/>
              </a:spcAft>
              <a:buFont typeface="Wingdings" panose="05000000000000000000" pitchFamily="2" charset="2"/>
              <a:buChar char="ü"/>
            </a:pPr>
            <a:r>
              <a:rPr lang="en-IN" sz="1600" dirty="0">
                <a:cs typeface="Arial" panose="020B0604020202020204" pitchFamily="34" charset="0"/>
              </a:rPr>
              <a:t>Overall </a:t>
            </a:r>
            <a:r>
              <a:rPr lang="en-IN" sz="1600" b="1" dirty="0">
                <a:cs typeface="Arial" panose="020B0604020202020204" pitchFamily="34" charset="0"/>
              </a:rPr>
              <a:t>sales </a:t>
            </a:r>
            <a:r>
              <a:rPr lang="en-IN" sz="1600" dirty="0">
                <a:cs typeface="Arial" panose="020B0604020202020204" pitchFamily="34" charset="0"/>
              </a:rPr>
              <a:t>grew by </a:t>
            </a:r>
            <a:r>
              <a:rPr lang="en-IN" sz="1600" b="1" dirty="0">
                <a:cs typeface="Arial" panose="020B0604020202020204" pitchFamily="34" charset="0"/>
              </a:rPr>
              <a:t>4X from </a:t>
            </a:r>
            <a:r>
              <a:rPr lang="en-IN" sz="1600" dirty="0">
                <a:cs typeface="Arial" panose="020B0604020202020204" pitchFamily="34" charset="0"/>
              </a:rPr>
              <a:t>2020 to 2021, with </a:t>
            </a:r>
            <a:r>
              <a:rPr lang="en-IN" sz="1600" b="1" dirty="0">
                <a:cs typeface="Arial" panose="020B0604020202020204" pitchFamily="34" charset="0"/>
              </a:rPr>
              <a:t>Amazon </a:t>
            </a:r>
            <a:r>
              <a:rPr lang="en-IN" sz="1600" dirty="0">
                <a:cs typeface="Arial" panose="020B0604020202020204" pitchFamily="34" charset="0"/>
              </a:rPr>
              <a:t>being the new entrant in the market in 2021</a:t>
            </a:r>
          </a:p>
          <a:p>
            <a:pPr marL="171450" indent="-171450">
              <a:spcBef>
                <a:spcPts val="900"/>
              </a:spcBef>
              <a:spcAft>
                <a:spcPts val="600"/>
              </a:spcAft>
              <a:buFont typeface="Wingdings" panose="05000000000000000000" pitchFamily="2" charset="2"/>
              <a:buChar char="ü"/>
            </a:pPr>
            <a:r>
              <a:rPr lang="en-IN" sz="1600" b="1" dirty="0">
                <a:cs typeface="Arial" panose="020B0604020202020204" pitchFamily="34" charset="0"/>
              </a:rPr>
              <a:t>West Gear, Footlocker </a:t>
            </a:r>
            <a:r>
              <a:rPr lang="en-IN" sz="1600" dirty="0">
                <a:cs typeface="Arial" panose="020B0604020202020204" pitchFamily="34" charset="0"/>
              </a:rPr>
              <a:t>and </a:t>
            </a:r>
            <a:r>
              <a:rPr lang="en-IN" sz="1600" b="1" dirty="0">
                <a:cs typeface="Arial" panose="020B0604020202020204" pitchFamily="34" charset="0"/>
              </a:rPr>
              <a:t>Sports Direct </a:t>
            </a:r>
            <a:r>
              <a:rPr lang="en-IN" sz="1600" dirty="0">
                <a:cs typeface="Arial" panose="020B0604020202020204" pitchFamily="34" charset="0"/>
              </a:rPr>
              <a:t>occupied </a:t>
            </a:r>
            <a:r>
              <a:rPr lang="en-IN" sz="1600" b="1" dirty="0">
                <a:cs typeface="Arial" panose="020B0604020202020204" pitchFamily="34" charset="0"/>
              </a:rPr>
              <a:t>~69% </a:t>
            </a:r>
            <a:r>
              <a:rPr lang="en-IN" sz="1600" dirty="0">
                <a:cs typeface="Arial" panose="020B0604020202020204" pitchFamily="34" charset="0"/>
              </a:rPr>
              <a:t>of the total market share in 2021</a:t>
            </a:r>
          </a:p>
        </p:txBody>
      </p:sp>
      <p:sp>
        <p:nvSpPr>
          <p:cNvPr id="14" name="Title 25">
            <a:extLst>
              <a:ext uri="{FF2B5EF4-FFF2-40B4-BE49-F238E27FC236}">
                <a16:creationId xmlns:a16="http://schemas.microsoft.com/office/drawing/2014/main" id="{66122E33-DFEB-43FE-B1AC-1E9BCFF28CCF}"/>
              </a:ext>
            </a:extLst>
          </p:cNvPr>
          <p:cNvSpPr txBox="1">
            <a:spLocks/>
          </p:cNvSpPr>
          <p:nvPr/>
        </p:nvSpPr>
        <p:spPr>
          <a:xfrm>
            <a:off x="506203" y="7583"/>
            <a:ext cx="10811830" cy="1006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200" kern="120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defRPr>
            </a:lvl1pPr>
          </a:lstStyle>
          <a:p>
            <a:r>
              <a:rPr lang="en-IN" sz="2800" b="1" i="0" u="none" strike="noStrike" dirty="0">
                <a:solidFill>
                  <a:srgbClr val="000000"/>
                </a:solidFill>
                <a:effectLst/>
                <a:latin typeface="Arial" panose="020B0604020202020204" pitchFamily="34" charset="0"/>
              </a:rPr>
              <a:t>Exploratory Data Analysis – </a:t>
            </a:r>
            <a:r>
              <a:rPr lang="en-IN" sz="2000" b="1" i="0" u="none" strike="noStrike" dirty="0">
                <a:solidFill>
                  <a:srgbClr val="0070C0"/>
                </a:solidFill>
                <a:effectLst/>
                <a:latin typeface="Arial" panose="020B0604020202020204" pitchFamily="34" charset="0"/>
              </a:rPr>
              <a:t>Bivariate</a:t>
            </a:r>
            <a:r>
              <a:rPr lang="en-IN" sz="2400" b="1" i="0" u="none" strike="noStrike" dirty="0">
                <a:solidFill>
                  <a:srgbClr val="0070C0"/>
                </a:solidFill>
                <a:effectLst/>
                <a:latin typeface="Arial" panose="020B0604020202020204" pitchFamily="34" charset="0"/>
              </a:rPr>
              <a:t> </a:t>
            </a:r>
            <a:r>
              <a:rPr lang="en-IN" sz="2400" b="0" i="0" dirty="0">
                <a:solidFill>
                  <a:srgbClr val="0070C0"/>
                </a:solidFill>
                <a:effectLst/>
                <a:latin typeface="Arial" panose="020B0604020202020204" pitchFamily="34" charset="0"/>
              </a:rPr>
              <a:t>​</a:t>
            </a:r>
            <a:endParaRPr lang="en-US" sz="4000" b="1" dirty="0">
              <a:solidFill>
                <a:schemeClr val="tx1"/>
              </a:solidFill>
              <a:latin typeface="Arial" panose="020B0604020202020204" pitchFamily="34" charset="0"/>
            </a:endParaRPr>
          </a:p>
        </p:txBody>
      </p:sp>
      <p:grpSp>
        <p:nvGrpSpPr>
          <p:cNvPr id="6" name="Group 5">
            <a:extLst>
              <a:ext uri="{FF2B5EF4-FFF2-40B4-BE49-F238E27FC236}">
                <a16:creationId xmlns:a16="http://schemas.microsoft.com/office/drawing/2014/main" id="{0989252C-5CEB-40CD-8207-9D05601189A9}"/>
              </a:ext>
            </a:extLst>
          </p:cNvPr>
          <p:cNvGrpSpPr/>
          <p:nvPr/>
        </p:nvGrpSpPr>
        <p:grpSpPr>
          <a:xfrm>
            <a:off x="6035040" y="3257022"/>
            <a:ext cx="3055260" cy="3039391"/>
            <a:chOff x="8641748" y="1002880"/>
            <a:chExt cx="2904153" cy="2689534"/>
          </a:xfrm>
        </p:grpSpPr>
        <p:graphicFrame>
          <p:nvGraphicFramePr>
            <p:cNvPr id="29" name="Chart 28">
              <a:extLst>
                <a:ext uri="{FF2B5EF4-FFF2-40B4-BE49-F238E27FC236}">
                  <a16:creationId xmlns:a16="http://schemas.microsoft.com/office/drawing/2014/main" id="{34779C94-AF4D-4613-B38F-10191CD2B78F}"/>
                </a:ext>
              </a:extLst>
            </p:cNvPr>
            <p:cNvGraphicFramePr>
              <a:graphicFrameLocks/>
            </p:cNvGraphicFramePr>
            <p:nvPr/>
          </p:nvGraphicFramePr>
          <p:xfrm>
            <a:off x="8641748" y="1278837"/>
            <a:ext cx="2904153" cy="2413577"/>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20">
              <a:extLst>
                <a:ext uri="{FF2B5EF4-FFF2-40B4-BE49-F238E27FC236}">
                  <a16:creationId xmlns:a16="http://schemas.microsoft.com/office/drawing/2014/main" id="{40B2A3E7-82FC-472A-95EC-2472407D3898}"/>
                </a:ext>
              </a:extLst>
            </p:cNvPr>
            <p:cNvSpPr txBox="1"/>
            <p:nvPr/>
          </p:nvSpPr>
          <p:spPr>
            <a:xfrm>
              <a:off x="8641748" y="1002880"/>
              <a:ext cx="2904153" cy="276999"/>
            </a:xfrm>
            <a:prstGeom prst="rect">
              <a:avLst/>
            </a:prstGeom>
            <a:solidFill>
              <a:srgbClr val="00B0F0"/>
            </a:solidFill>
            <a:ln>
              <a:solidFill>
                <a:srgbClr val="EAEDF2"/>
              </a:solidFill>
            </a:ln>
          </p:spPr>
          <p:txBody>
            <a:bodyPr wrap="square">
              <a:spAutoFit/>
            </a:bodyPr>
            <a:lstStyle/>
            <a:p>
              <a:pPr algn="ctr"/>
              <a:r>
                <a:rPr lang="en-IN" sz="1200" b="1" dirty="0">
                  <a:solidFill>
                    <a:schemeClr val="bg1"/>
                  </a:solidFill>
                  <a:latin typeface="Arial" panose="020B0604020202020204" pitchFamily="34" charset="0"/>
                  <a:cs typeface="Arial" panose="020B0604020202020204" pitchFamily="34" charset="0"/>
                </a:rPr>
                <a:t>Y-O-Y Growth in Sales</a:t>
              </a:r>
              <a:endParaRPr lang="en-IN" sz="1600" b="1" dirty="0">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CF739108-697C-9457-DCB9-7A65CD0E0F3D}"/>
              </a:ext>
            </a:extLst>
          </p:cNvPr>
          <p:cNvGrpSpPr/>
          <p:nvPr/>
        </p:nvGrpSpPr>
        <p:grpSpPr>
          <a:xfrm>
            <a:off x="560292" y="3267181"/>
            <a:ext cx="5405425" cy="3039392"/>
            <a:chOff x="7080983" y="3923114"/>
            <a:chExt cx="4877337" cy="2856183"/>
          </a:xfrm>
        </p:grpSpPr>
        <p:grpSp>
          <p:nvGrpSpPr>
            <p:cNvPr id="12" name="Group 11">
              <a:extLst>
                <a:ext uri="{FF2B5EF4-FFF2-40B4-BE49-F238E27FC236}">
                  <a16:creationId xmlns:a16="http://schemas.microsoft.com/office/drawing/2014/main" id="{2E7B843C-4BF9-853D-105F-57A48B1B2DD4}"/>
                </a:ext>
              </a:extLst>
            </p:cNvPr>
            <p:cNvGrpSpPr/>
            <p:nvPr/>
          </p:nvGrpSpPr>
          <p:grpSpPr>
            <a:xfrm>
              <a:off x="7100390" y="4130847"/>
              <a:ext cx="4857930" cy="2648450"/>
              <a:chOff x="7294899" y="1660791"/>
              <a:chExt cx="4857930" cy="2648450"/>
            </a:xfrm>
          </p:grpSpPr>
          <p:pic>
            <p:nvPicPr>
              <p:cNvPr id="7" name="Picture 6">
                <a:extLst>
                  <a:ext uri="{FF2B5EF4-FFF2-40B4-BE49-F238E27FC236}">
                    <a16:creationId xmlns:a16="http://schemas.microsoft.com/office/drawing/2014/main" id="{1A647F9F-5CD5-542E-4789-C90874EC6C25}"/>
                  </a:ext>
                </a:extLst>
              </p:cNvPr>
              <p:cNvPicPr>
                <a:picLocks noChangeAspect="1"/>
              </p:cNvPicPr>
              <p:nvPr/>
            </p:nvPicPr>
            <p:blipFill rotWithShape="1">
              <a:blip r:embed="rId8"/>
              <a:srcRect l="667" t="10093" r="16333" b="7668"/>
              <a:stretch/>
            </p:blipFill>
            <p:spPr>
              <a:xfrm>
                <a:off x="7294899" y="1660791"/>
                <a:ext cx="4857930" cy="2648450"/>
              </a:xfrm>
              <a:prstGeom prst="rect">
                <a:avLst/>
              </a:prstGeom>
              <a:ln>
                <a:solidFill>
                  <a:srgbClr val="EAEDF2"/>
                </a:solidFill>
              </a:ln>
            </p:spPr>
          </p:pic>
          <p:pic>
            <p:nvPicPr>
              <p:cNvPr id="11" name="Picture 10">
                <a:extLst>
                  <a:ext uri="{FF2B5EF4-FFF2-40B4-BE49-F238E27FC236}">
                    <a16:creationId xmlns:a16="http://schemas.microsoft.com/office/drawing/2014/main" id="{478B1E90-B678-1E34-B059-A3C348830864}"/>
                  </a:ext>
                </a:extLst>
              </p:cNvPr>
              <p:cNvPicPr>
                <a:picLocks noChangeAspect="1"/>
              </p:cNvPicPr>
              <p:nvPr/>
            </p:nvPicPr>
            <p:blipFill rotWithShape="1">
              <a:blip r:embed="rId9"/>
              <a:srcRect t="12159"/>
              <a:stretch/>
            </p:blipFill>
            <p:spPr>
              <a:xfrm>
                <a:off x="7898974" y="1755914"/>
                <a:ext cx="1233944" cy="1083915"/>
              </a:xfrm>
              <a:prstGeom prst="rect">
                <a:avLst/>
              </a:prstGeom>
              <a:ln>
                <a:solidFill>
                  <a:srgbClr val="EAEDF2"/>
                </a:solidFill>
              </a:ln>
            </p:spPr>
          </p:pic>
        </p:grpSp>
        <p:sp>
          <p:nvSpPr>
            <p:cNvPr id="8" name="TextBox 7">
              <a:extLst>
                <a:ext uri="{FF2B5EF4-FFF2-40B4-BE49-F238E27FC236}">
                  <a16:creationId xmlns:a16="http://schemas.microsoft.com/office/drawing/2014/main" id="{C2A92D8B-05A9-AD0D-B67D-F7238D8392C5}"/>
                </a:ext>
              </a:extLst>
            </p:cNvPr>
            <p:cNvSpPr txBox="1"/>
            <p:nvPr/>
          </p:nvSpPr>
          <p:spPr>
            <a:xfrm>
              <a:off x="7080983" y="3923114"/>
              <a:ext cx="4857931" cy="276999"/>
            </a:xfrm>
            <a:prstGeom prst="rect">
              <a:avLst/>
            </a:prstGeom>
            <a:solidFill>
              <a:srgbClr val="00B0F0"/>
            </a:solidFill>
          </p:spPr>
          <p:txBody>
            <a:bodyPr wrap="square">
              <a:spAutoFit/>
            </a:bodyPr>
            <a:lstStyle/>
            <a:p>
              <a:pPr algn="ctr"/>
              <a:r>
                <a:rPr lang="en-IN" sz="1200" b="1" dirty="0">
                  <a:solidFill>
                    <a:schemeClr val="bg1"/>
                  </a:solidFill>
                  <a:latin typeface="Arial" panose="020B0604020202020204" pitchFamily="34" charset="0"/>
                  <a:cs typeface="Arial" panose="020B0604020202020204" pitchFamily="34" charset="0"/>
                </a:rPr>
                <a:t>Sales Trend (last 2 years)</a:t>
              </a:r>
              <a:endParaRPr lang="en-IN" sz="1600" b="1" dirty="0">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C091C7D8-D678-E4A5-FAF8-3E0674359B41}"/>
              </a:ext>
            </a:extLst>
          </p:cNvPr>
          <p:cNvGrpSpPr/>
          <p:nvPr/>
        </p:nvGrpSpPr>
        <p:grpSpPr>
          <a:xfrm>
            <a:off x="9160948" y="3257021"/>
            <a:ext cx="2425576" cy="3039392"/>
            <a:chOff x="7406545" y="3907262"/>
            <a:chExt cx="2359000" cy="2724592"/>
          </a:xfrm>
        </p:grpSpPr>
        <p:sp>
          <p:nvSpPr>
            <p:cNvPr id="24" name="TextBox 23">
              <a:extLst>
                <a:ext uri="{FF2B5EF4-FFF2-40B4-BE49-F238E27FC236}">
                  <a16:creationId xmlns:a16="http://schemas.microsoft.com/office/drawing/2014/main" id="{E3554944-4ADA-425A-B340-4C9092BECA41}"/>
                </a:ext>
              </a:extLst>
            </p:cNvPr>
            <p:cNvSpPr txBox="1"/>
            <p:nvPr/>
          </p:nvSpPr>
          <p:spPr>
            <a:xfrm>
              <a:off x="7406545" y="3907262"/>
              <a:ext cx="2359000" cy="276999"/>
            </a:xfrm>
            <a:prstGeom prst="rect">
              <a:avLst/>
            </a:prstGeom>
            <a:solidFill>
              <a:srgbClr val="00B0F0"/>
            </a:solidFill>
          </p:spPr>
          <p:txBody>
            <a:bodyPr wrap="square">
              <a:spAutoFit/>
            </a:bodyPr>
            <a:lstStyle/>
            <a:p>
              <a:pPr algn="ctr"/>
              <a:r>
                <a:rPr lang="en-IN" sz="1200" b="1" dirty="0">
                  <a:solidFill>
                    <a:schemeClr val="bg1"/>
                  </a:solidFill>
                  <a:latin typeface="Arial" panose="020B0604020202020204" pitchFamily="34" charset="0"/>
                  <a:cs typeface="Arial" panose="020B0604020202020204" pitchFamily="34" charset="0"/>
                </a:rPr>
                <a:t>Market share - 2021</a:t>
              </a:r>
              <a:endParaRPr lang="en-IN" sz="1600" b="1" dirty="0">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50B4B09A-1D1B-7577-C1D3-EC0E7BC696E4}"/>
                </a:ext>
              </a:extLst>
            </p:cNvPr>
            <p:cNvPicPr>
              <a:picLocks noChangeAspect="1"/>
            </p:cNvPicPr>
            <p:nvPr/>
          </p:nvPicPr>
          <p:blipFill rotWithShape="1">
            <a:blip r:embed="rId10"/>
            <a:srcRect l="29928" t="11361" r="22762" b="6469"/>
            <a:stretch/>
          </p:blipFill>
          <p:spPr>
            <a:xfrm>
              <a:off x="7406545" y="4169210"/>
              <a:ext cx="2359000" cy="2462644"/>
            </a:xfrm>
            <a:prstGeom prst="rect">
              <a:avLst/>
            </a:prstGeom>
            <a:ln>
              <a:solidFill>
                <a:srgbClr val="EAEDF2"/>
              </a:solidFill>
            </a:ln>
          </p:spPr>
        </p:pic>
      </p:grpSp>
    </p:spTree>
    <p:extLst>
      <p:ext uri="{BB962C8B-B14F-4D97-AF65-F5344CB8AC3E}">
        <p14:creationId xmlns:p14="http://schemas.microsoft.com/office/powerpoint/2010/main" val="3565818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OucrLypGg0ah.t6LZ..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OucrLypGg0ah.t6LZ..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OucrLypGg0ah.t6LZ..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30</TotalTime>
  <Words>2193</Words>
  <Application>Microsoft Office PowerPoint</Application>
  <PresentationFormat>Widescreen</PresentationFormat>
  <Paragraphs>278</Paragraphs>
  <Slides>30</Slides>
  <Notes>1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4" baseType="lpstr">
      <vt:lpstr>Arial</vt:lpstr>
      <vt:lpstr>Arial Narrow</vt:lpstr>
      <vt:lpstr>Avenir</vt:lpstr>
      <vt:lpstr>Calibri</vt:lpstr>
      <vt:lpstr>Calibri Light</vt:lpstr>
      <vt:lpstr>Century Gothic</vt:lpstr>
      <vt:lpstr>EYInterstate Light</vt:lpstr>
      <vt:lpstr>Noto Sans Symbols</vt:lpstr>
      <vt:lpstr>Open Sans</vt:lpstr>
      <vt:lpstr>Roboto</vt:lpstr>
      <vt:lpstr>Söhne</vt:lpstr>
      <vt:lpstr>Wingdings</vt:lpstr>
      <vt:lpstr>Office Theme</vt:lpstr>
      <vt:lpstr>think-cell Slide</vt:lpstr>
      <vt:lpstr>PowerPoint Presentation</vt:lpstr>
      <vt:lpstr>INDEX</vt:lpstr>
      <vt:lpstr>PowerPoint Presentation</vt:lpstr>
      <vt:lpstr>Data Overview</vt:lpstr>
      <vt:lpstr>Data Preparation and Pre-processing</vt:lpstr>
      <vt:lpstr>Data Observations</vt:lpstr>
      <vt:lpstr>PowerPoint Presentation</vt:lpstr>
      <vt:lpstr>PowerPoint Presentation</vt:lpstr>
      <vt:lpstr>Bivariate Analysis (TBA)</vt:lpstr>
      <vt:lpstr>PowerPoint Presentation</vt:lpstr>
      <vt:lpstr>Bivariate Analysis (TBA)</vt:lpstr>
      <vt:lpstr>Exploratory Data Analysis - Bi-variate</vt:lpstr>
      <vt:lpstr>Correlation Plot</vt:lpstr>
      <vt:lpstr>Summary of EDA</vt:lpstr>
      <vt:lpstr>PowerPoint Presentation</vt:lpstr>
      <vt:lpstr>PowerPoint Presentation</vt:lpstr>
      <vt:lpstr>PowerPoint Presentation</vt:lpstr>
      <vt:lpstr>Clustering (K- Means Method)</vt:lpstr>
      <vt:lpstr>Clustering (K- Prototype Method)</vt:lpstr>
      <vt:lpstr>Clustering (Hierarchical Method)</vt:lpstr>
      <vt:lpstr>Clustering (DBSCAN)</vt:lpstr>
      <vt:lpstr>PowerPoint Presentation</vt:lpstr>
      <vt:lpstr>PowerPoint Presentation</vt:lpstr>
      <vt:lpstr>Understanding the Clusters</vt:lpstr>
      <vt:lpstr>Cluster Profiling</vt:lpstr>
      <vt:lpstr>Cluster Profiling</vt:lpstr>
      <vt:lpstr>Cluster Profiling</vt:lpstr>
      <vt:lpstr>Cluster Profiling - Summary</vt:lpstr>
      <vt:lpstr>Recommendation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Reynolds</dc:creator>
  <cp:lastModifiedBy>Ashish Mahajan</cp:lastModifiedBy>
  <cp:revision>131</cp:revision>
  <dcterms:created xsi:type="dcterms:W3CDTF">2023-04-13T09:12:00Z</dcterms:created>
  <dcterms:modified xsi:type="dcterms:W3CDTF">2023-04-24T16:4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025010C3EE8406BBC018D38693401B2</vt:lpwstr>
  </property>
  <property fmtid="{D5CDD505-2E9C-101B-9397-08002B2CF9AE}" pid="3" name="KSOProductBuildVer">
    <vt:lpwstr>1033-11.2.0.11516</vt:lpwstr>
  </property>
</Properties>
</file>